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096" r:id="rId1"/>
  </p:sldMasterIdLst>
  <p:notesMasterIdLst>
    <p:notesMasterId r:id="rId32"/>
  </p:notesMasterIdLst>
  <p:sldIdLst>
    <p:sldId id="256" r:id="rId2"/>
    <p:sldId id="406" r:id="rId3"/>
    <p:sldId id="407" r:id="rId4"/>
    <p:sldId id="311" r:id="rId5"/>
    <p:sldId id="299" r:id="rId6"/>
    <p:sldId id="436" r:id="rId7"/>
    <p:sldId id="442" r:id="rId8"/>
    <p:sldId id="447" r:id="rId9"/>
    <p:sldId id="449" r:id="rId10"/>
    <p:sldId id="657" r:id="rId11"/>
    <p:sldId id="678" r:id="rId12"/>
    <p:sldId id="260" r:id="rId13"/>
    <p:sldId id="439" r:id="rId14"/>
    <p:sldId id="261" r:id="rId15"/>
    <p:sldId id="269" r:id="rId16"/>
    <p:sldId id="262" r:id="rId17"/>
    <p:sldId id="651" r:id="rId18"/>
    <p:sldId id="270" r:id="rId19"/>
    <p:sldId id="443" r:id="rId20"/>
    <p:sldId id="444" r:id="rId21"/>
    <p:sldId id="267" r:id="rId22"/>
    <p:sldId id="437" r:id="rId23"/>
    <p:sldId id="427" r:id="rId24"/>
    <p:sldId id="450" r:id="rId25"/>
    <p:sldId id="271" r:id="rId26"/>
    <p:sldId id="441" r:id="rId27"/>
    <p:sldId id="277" r:id="rId28"/>
    <p:sldId id="650" r:id="rId29"/>
    <p:sldId id="653" r:id="rId30"/>
    <p:sldId id="659" r:id="rId31"/>
  </p:sldIdLst>
  <p:sldSz cx="9144000" cy="5143500" type="screen16x9"/>
  <p:notesSz cx="6858000" cy="9144000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394542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789101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183656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578209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1972762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367322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2761854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156415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573">
          <p15:clr>
            <a:srgbClr val="A4A3A4"/>
          </p15:clr>
        </p15:guide>
        <p15:guide id="2" pos="7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0000"/>
    <a:srgbClr val="EDF4E7"/>
    <a:srgbClr val="FFFFFF"/>
    <a:srgbClr val="9FE600"/>
    <a:srgbClr val="5151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40" autoAdjust="0"/>
    <p:restoredTop sz="95652" autoAdjust="0"/>
  </p:normalViewPr>
  <p:slideViewPr>
    <p:cSldViewPr snapToGrid="0">
      <p:cViewPr varScale="1">
        <p:scale>
          <a:sx n="134" d="100"/>
          <a:sy n="134" d="100"/>
        </p:scale>
        <p:origin x="144" y="96"/>
      </p:cViewPr>
      <p:guideLst>
        <p:guide orient="horz" pos="2573"/>
        <p:guide pos="796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\\brc-nas\amt\member%20folders\Sibo%20Lin\AOT\Manuscripts\DFT_PNPvsPPN\DFT_compiledCrestPNPvsPP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x"/>
            <c:size val="5"/>
            <c:spPr>
              <a:noFill/>
              <a:ln w="9525">
                <a:solidFill>
                  <a:sysClr val="windowText" lastClr="000000"/>
                </a:solidFill>
              </a:ln>
              <a:effectLst/>
            </c:spPr>
          </c:marker>
          <c:trendline>
            <c:spPr>
              <a:ln w="19050" cap="rnd">
                <a:solidFill>
                  <a:sysClr val="windowText" lastClr="000000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38196475503405175"/>
                  <c:y val="-6.9433720983702041E-2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PE vs DGPPN'!$N$2:$N$15</c:f>
              <c:numCache>
                <c:formatCode>0.0</c:formatCode>
                <c:ptCount val="14"/>
                <c:pt idx="0">
                  <c:v>8.5573402330106649</c:v>
                </c:pt>
                <c:pt idx="1">
                  <c:v>9.4728758640533641</c:v>
                </c:pt>
                <c:pt idx="2">
                  <c:v>9.4835435169550912</c:v>
                </c:pt>
                <c:pt idx="3">
                  <c:v>2.5376463960136149</c:v>
                </c:pt>
                <c:pt idx="4">
                  <c:v>-2.5696493551468338</c:v>
                </c:pt>
                <c:pt idx="5">
                  <c:v>3.5240905440913055</c:v>
                </c:pt>
                <c:pt idx="6">
                  <c:v>-0.94314602697298922</c:v>
                </c:pt>
                <c:pt idx="7">
                  <c:v>4.6962773559853987</c:v>
                </c:pt>
                <c:pt idx="8">
                  <c:v>3.7920368871995409</c:v>
                </c:pt>
                <c:pt idx="9">
                  <c:v>0.50765478107374562</c:v>
                </c:pt>
                <c:pt idx="10">
                  <c:v>8.865447151874827</c:v>
                </c:pt>
                <c:pt idx="11">
                  <c:v>9.0210693839099552</c:v>
                </c:pt>
                <c:pt idx="12">
                  <c:v>6.7407016779601685</c:v>
                </c:pt>
                <c:pt idx="13">
                  <c:v>7.5489332700597656</c:v>
                </c:pt>
              </c:numCache>
            </c:numRef>
          </c:xVal>
          <c:yVal>
            <c:numRef>
              <c:f>'PE vs DGPPN'!$P$2:$P$16</c:f>
              <c:numCache>
                <c:formatCode>General</c:formatCode>
                <c:ptCount val="15"/>
                <c:pt idx="0">
                  <c:v>0.26236426446749106</c:v>
                </c:pt>
                <c:pt idx="1">
                  <c:v>-0.10536051565782628</c:v>
                </c:pt>
                <c:pt idx="2">
                  <c:v>-0.22314355131420971</c:v>
                </c:pt>
                <c:pt idx="3">
                  <c:v>0.21511137961694549</c:v>
                </c:pt>
                <c:pt idx="4">
                  <c:v>2.5572273113676265</c:v>
                </c:pt>
                <c:pt idx="5">
                  <c:v>1.1939224684724346</c:v>
                </c:pt>
                <c:pt idx="6">
                  <c:v>2.7850112422383382</c:v>
                </c:pt>
                <c:pt idx="7">
                  <c:v>1.5260563034950492</c:v>
                </c:pt>
                <c:pt idx="8">
                  <c:v>2.0541237336955462</c:v>
                </c:pt>
                <c:pt idx="9">
                  <c:v>1.2237754316221157</c:v>
                </c:pt>
                <c:pt idx="10">
                  <c:v>-0.22314355131420971</c:v>
                </c:pt>
                <c:pt idx="11">
                  <c:v>-0.22314355131420971</c:v>
                </c:pt>
                <c:pt idx="12">
                  <c:v>-0.51082562376599072</c:v>
                </c:pt>
                <c:pt idx="13">
                  <c:v>-0.510825623765990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B19-4671-B653-72EB0B0795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95315480"/>
        <c:axId val="809762376"/>
      </c:scatterChart>
      <c:valAx>
        <c:axId val="495315480"/>
        <c:scaling>
          <c:orientation val="minMax"/>
          <c:max val="1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Δ</a:t>
                </a:r>
                <a:r>
                  <a:rPr lang="en-US"/>
                  <a:t>G</a:t>
                </a:r>
                <a:r>
                  <a:rPr lang="en-US" baseline="-25000"/>
                  <a:t>PPN</a:t>
                </a:r>
                <a:r>
                  <a:rPr lang="en-US" baseline="0"/>
                  <a:t> (kcal/mol)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9762376"/>
        <c:crossesAt val="-3"/>
        <c:crossBetween val="midCat"/>
      </c:valAx>
      <c:valAx>
        <c:axId val="809762376"/>
        <c:scaling>
          <c:orientation val="minMax"/>
          <c:max val="3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ln(PE wt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5315480"/>
        <c:crossesAt val="-5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image" Target="../media/image53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image" Target="../media/image55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image" Target="../media/image59.emf"/><Relationship Id="rId1" Type="http://schemas.openxmlformats.org/officeDocument/2006/relationships/image" Target="../media/image58.emf"/><Relationship Id="rId4" Type="http://schemas.openxmlformats.org/officeDocument/2006/relationships/image" Target="../media/image61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image" Target="../media/image62.e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image" Target="../media/image66.emf"/><Relationship Id="rId1" Type="http://schemas.openxmlformats.org/officeDocument/2006/relationships/image" Target="../media/image65.emf"/></Relationships>
</file>

<file path=ppt/drawings/_rels/vmlDrawing15.v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7" Type="http://schemas.openxmlformats.org/officeDocument/2006/relationships/image" Target="../media/image73.emf"/><Relationship Id="rId2" Type="http://schemas.openxmlformats.org/officeDocument/2006/relationships/image" Target="../media/image56.emf"/><Relationship Id="rId1" Type="http://schemas.openxmlformats.org/officeDocument/2006/relationships/image" Target="../media/image68.emf"/><Relationship Id="rId6" Type="http://schemas.openxmlformats.org/officeDocument/2006/relationships/image" Target="../media/image72.emf"/><Relationship Id="rId5" Type="http://schemas.openxmlformats.org/officeDocument/2006/relationships/image" Target="../media/image71.emf"/><Relationship Id="rId4" Type="http://schemas.openxmlformats.org/officeDocument/2006/relationships/image" Target="../media/image70.emf"/></Relationships>
</file>

<file path=ppt/drawings/_rels/vmlDrawing16.v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image" Target="../media/image77.emf"/><Relationship Id="rId1" Type="http://schemas.openxmlformats.org/officeDocument/2006/relationships/image" Target="../media/image76.emf"/><Relationship Id="rId4" Type="http://schemas.openxmlformats.org/officeDocument/2006/relationships/image" Target="../media/image7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82.emf"/><Relationship Id="rId1" Type="http://schemas.openxmlformats.org/officeDocument/2006/relationships/image" Target="../media/image81.emf"/><Relationship Id="rId5" Type="http://schemas.openxmlformats.org/officeDocument/2006/relationships/image" Target="../media/image57.emf"/><Relationship Id="rId4" Type="http://schemas.openxmlformats.org/officeDocument/2006/relationships/image" Target="../media/image5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image" Target="../media/image15.emf"/><Relationship Id="rId6" Type="http://schemas.openxmlformats.org/officeDocument/2006/relationships/image" Target="../media/image20.emf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5.emf"/></Relationships>
</file>

<file path=ppt/drawings/_rels/vmlDrawing22.vml.rels><?xml version="1.0" encoding="UTF-8" standalone="yes"?>
<Relationships xmlns="http://schemas.openxmlformats.org/package/2006/relationships"><Relationship Id="rId3" Type="http://schemas.openxmlformats.org/officeDocument/2006/relationships/image" Target="../media/image88.emf"/><Relationship Id="rId2" Type="http://schemas.openxmlformats.org/officeDocument/2006/relationships/image" Target="../media/image87.emf"/><Relationship Id="rId1" Type="http://schemas.openxmlformats.org/officeDocument/2006/relationships/image" Target="../media/image8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9.emf"/></Relationships>
</file>

<file path=ppt/drawings/_rels/vmlDrawing24.vml.rels><?xml version="1.0" encoding="UTF-8" standalone="yes"?>
<Relationships xmlns="http://schemas.openxmlformats.org/package/2006/relationships"><Relationship Id="rId3" Type="http://schemas.openxmlformats.org/officeDocument/2006/relationships/image" Target="../media/image90.emf"/><Relationship Id="rId2" Type="http://schemas.openxmlformats.org/officeDocument/2006/relationships/image" Target="../media/image63.emf"/><Relationship Id="rId1" Type="http://schemas.openxmlformats.org/officeDocument/2006/relationships/image" Target="../media/image68.emf"/><Relationship Id="rId4" Type="http://schemas.openxmlformats.org/officeDocument/2006/relationships/image" Target="../media/image9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image" Target="../media/image3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wmf"/><Relationship Id="rId1" Type="http://schemas.openxmlformats.org/officeDocument/2006/relationships/image" Target="../media/image34.emf"/><Relationship Id="rId6" Type="http://schemas.openxmlformats.org/officeDocument/2006/relationships/image" Target="../media/image47.emf"/><Relationship Id="rId5" Type="http://schemas.openxmlformats.org/officeDocument/2006/relationships/image" Target="../media/image46.emf"/><Relationship Id="rId4" Type="http://schemas.openxmlformats.org/officeDocument/2006/relationships/image" Target="../media/image45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3B7579-AD93-4E48-9924-DED47B504270}" type="datetimeFigureOut">
              <a:rPr lang="en-US" smtClean="0"/>
              <a:t>12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E50E72-87A1-4481-8BCD-D75DD77262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906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line.com/Product/Detail/S-12827/Uline-Stretch-Wrap/Economy-Stretch-Wrap-Cast-80-gauge-18-x-1500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www.blspolymers.com/LLDPE.htm" TargetMode="External"/><Relationship Id="rId5" Type="http://schemas.openxmlformats.org/officeDocument/2006/relationships/hyperlink" Target="https://www.hillnmarkes.com/" TargetMode="External"/><Relationship Id="rId4" Type="http://schemas.openxmlformats.org/officeDocument/2006/relationships/hyperlink" Target="https://www.freshwatersystems.com/products/3-8-od-lldpe-polyethylene-tubing-500-ft-roll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 credits:</a:t>
            </a:r>
          </a:p>
          <a:p>
            <a:endParaRPr lang="en-US" dirty="0"/>
          </a:p>
          <a:p>
            <a:r>
              <a:rPr lang="en-US" dirty="0">
                <a:hlinkClick r:id="rId3"/>
              </a:rPr>
              <a:t>https://www.uline.com/Product/Detail/S-12827/Uline-Stretch-Wrap/Economy-Stretch-Wrap-Cast-80-gauge-18-x-1500</a:t>
            </a:r>
            <a:endParaRPr lang="en-US" dirty="0">
              <a:hlinkClick r:id="rId4"/>
            </a:endParaRPr>
          </a:p>
          <a:p>
            <a:r>
              <a:rPr lang="en-US" dirty="0">
                <a:hlinkClick r:id="rId4"/>
              </a:rPr>
              <a:t>https://www.freshwatersystems.com/products/3-8-od-lldpe-polyethylene-tubing-500-ft-roll</a:t>
            </a:r>
            <a:endParaRPr lang="en-US" dirty="0">
              <a:hlinkClick r:id="rId5"/>
            </a:endParaRPr>
          </a:p>
          <a:p>
            <a:r>
              <a:rPr lang="en-US" dirty="0">
                <a:hlinkClick r:id="rId5"/>
              </a:rPr>
              <a:t>https://www.hillnmarkes.com/</a:t>
            </a:r>
            <a:endParaRPr lang="en-US" dirty="0">
              <a:hlinkClick r:id="rId6"/>
            </a:endParaRPr>
          </a:p>
          <a:p>
            <a:r>
              <a:rPr lang="en-US" dirty="0">
                <a:hlinkClick r:id="rId6"/>
              </a:rPr>
              <a:t>http://www.blspolymers.com/LLDPE.htm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26E52-79DF-1742-BB7A-53D58EC4FE9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6728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E50E72-87A1-4481-8BCD-D75DD772628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912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4523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4150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131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26E52-79DF-1742-BB7A-53D58EC4FE96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823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26E52-79DF-1742-BB7A-53D58EC4FE96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645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26E52-79DF-1742-BB7A-53D58EC4FE96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9703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26E52-79DF-1742-BB7A-53D58EC4FE96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1469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PDI catalyst reference: </a:t>
            </a:r>
            <a:r>
              <a:rPr lang="en-GB" sz="1200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Small, B. L. </a:t>
            </a:r>
            <a:r>
              <a:rPr lang="en-GB" sz="1200" i="1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Acc. Chem. Res. </a:t>
            </a:r>
            <a:r>
              <a:rPr lang="en-GB" sz="1200" b="1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2015</a:t>
            </a:r>
            <a:r>
              <a:rPr lang="en-GB" sz="1200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, </a:t>
            </a:r>
            <a:r>
              <a:rPr lang="en-GB" sz="1200" i="1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48</a:t>
            </a:r>
            <a:r>
              <a:rPr lang="en-GB" sz="1200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, 2599</a:t>
            </a:r>
            <a:endParaRPr lang="en-US" sz="1200" dirty="0">
              <a:solidFill>
                <a:srgbClr val="53565A"/>
              </a:solidFill>
              <a:latin typeface="Arial" charset="0"/>
              <a:ea typeface="ＭＳ Ｐゴシック" charset="0"/>
            </a:endParaRPr>
          </a:p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53565A"/>
              </a:solidFill>
              <a:latin typeface="Arial" charset="0"/>
              <a:ea typeface="ＭＳ Ｐゴシック" charset="0"/>
            </a:endParaRPr>
          </a:p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Catalytic Conditions: 0.8 </a:t>
            </a:r>
            <a:r>
              <a:rPr lang="en-US" sz="1200" dirty="0" err="1">
                <a:solidFill>
                  <a:srgbClr val="53565A"/>
                </a:solidFill>
                <a:latin typeface="Arial" charset="0"/>
                <a:ea typeface="ＭＳ Ｐゴシック" charset="0"/>
              </a:rPr>
              <a:t>umol</a:t>
            </a:r>
            <a:r>
              <a:rPr lang="en-US" sz="1200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 Cr or Fe; 500:1 Al(MMAO-3A)/Cr-or-</a:t>
            </a:r>
            <a:r>
              <a:rPr lang="en-US" sz="1200" dirty="0" err="1">
                <a:solidFill>
                  <a:srgbClr val="53565A"/>
                </a:solidFill>
                <a:latin typeface="Arial" charset="0"/>
                <a:ea typeface="ＭＳ Ｐゴシック" charset="0"/>
              </a:rPr>
              <a:t>Ti</a:t>
            </a:r>
            <a:r>
              <a:rPr lang="en-US" sz="1200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; </a:t>
            </a:r>
            <a:r>
              <a:rPr lang="en-US" sz="1200" dirty="0" err="1">
                <a:solidFill>
                  <a:srgbClr val="53565A"/>
                </a:solidFill>
                <a:latin typeface="Arial" charset="0"/>
                <a:ea typeface="ＭＳ Ｐゴシック" charset="0"/>
              </a:rPr>
              <a:t>MeCy</a:t>
            </a:r>
            <a:r>
              <a:rPr lang="en-US" sz="1200" dirty="0">
                <a:solidFill>
                  <a:srgbClr val="53565A"/>
                </a:solidFill>
                <a:latin typeface="Arial" charset="0"/>
                <a:ea typeface="ＭＳ Ｐゴシック" charset="0"/>
              </a:rPr>
              <a:t> solvent; 1h at 45 º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1844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enchmark Reference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4910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3040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E50E72-87A1-4481-8BCD-D75DD772628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382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circl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9524"/>
            <a:ext cx="5626608" cy="27919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109807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4325" y="246705"/>
            <a:ext cx="1621936" cy="72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33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Trebuchet MS"/>
              </a:rPr>
              <a:t>27/10/2014</a:t>
            </a: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210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Trebuchet MS"/>
              </a:rPr>
              <a:t>27/10/2014</a:t>
            </a: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734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Trebuchet MS"/>
              </a:rPr>
              <a:t>27/10/2014</a:t>
            </a: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SA_PRINT_LOGO_MRKT_CMYK_NEG.png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1629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Trebuchet MS"/>
              </a:rPr>
              <a:t>27/10/2014</a:t>
            </a: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0305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/>
          <p:cNvSpPr/>
          <p:nvPr/>
        </p:nvSpPr>
        <p:spPr>
          <a:xfrm>
            <a:off x="3432099" y="4"/>
            <a:ext cx="5711902" cy="5148146"/>
          </a:xfrm>
          <a:custGeom>
            <a:avLst/>
            <a:gdLst>
              <a:gd name="connsiteX0" fmla="*/ 0 w 5711902"/>
              <a:gd name="connsiteY0" fmla="*/ 6858000 h 6858000"/>
              <a:gd name="connsiteX1" fmla="*/ 1496118 w 5711902"/>
              <a:gd name="connsiteY1" fmla="*/ 0 h 6858000"/>
              <a:gd name="connsiteX2" fmla="*/ 5711902 w 5711902"/>
              <a:gd name="connsiteY2" fmla="*/ 0 h 6858000"/>
              <a:gd name="connsiteX3" fmla="*/ 4215784 w 5711902"/>
              <a:gd name="connsiteY3" fmla="*/ 6858000 h 6858000"/>
              <a:gd name="connsiteX4" fmla="*/ 0 w 5711902"/>
              <a:gd name="connsiteY4" fmla="*/ 6858000 h 6858000"/>
              <a:gd name="connsiteX0" fmla="*/ 0 w 5711902"/>
              <a:gd name="connsiteY0" fmla="*/ 6858000 h 6864195"/>
              <a:gd name="connsiteX1" fmla="*/ 1496118 w 5711902"/>
              <a:gd name="connsiteY1" fmla="*/ 0 h 6864195"/>
              <a:gd name="connsiteX2" fmla="*/ 5711902 w 5711902"/>
              <a:gd name="connsiteY2" fmla="*/ 0 h 6864195"/>
              <a:gd name="connsiteX3" fmla="*/ 5708808 w 5711902"/>
              <a:gd name="connsiteY3" fmla="*/ 6864195 h 6864195"/>
              <a:gd name="connsiteX4" fmla="*/ 0 w 5711902"/>
              <a:gd name="connsiteY4" fmla="*/ 6858000 h 6864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1902" h="6864195">
                <a:moveTo>
                  <a:pt x="0" y="6858000"/>
                </a:moveTo>
                <a:lnTo>
                  <a:pt x="1496118" y="0"/>
                </a:lnTo>
                <a:lnTo>
                  <a:pt x="5711902" y="0"/>
                </a:lnTo>
                <a:cubicBezTo>
                  <a:pt x="5710871" y="2288065"/>
                  <a:pt x="5709839" y="4576130"/>
                  <a:pt x="5708808" y="6864195"/>
                </a:cubicBez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0000">
                <a:schemeClr val="bg2"/>
              </a:gs>
              <a:gs pos="90000">
                <a:schemeClr val="tx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9345" tIns="39673" rIns="79345" bIns="396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9672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37" y="0"/>
            <a:ext cx="4943844" cy="5143500"/>
          </a:xfrm>
          <a:custGeom>
            <a:avLst/>
            <a:gdLst>
              <a:gd name="connsiteX0" fmla="*/ 0 w 4930775"/>
              <a:gd name="connsiteY0" fmla="*/ 6858000 h 6858000"/>
              <a:gd name="connsiteX1" fmla="*/ 1474302 w 4930775"/>
              <a:gd name="connsiteY1" fmla="*/ 0 h 6858000"/>
              <a:gd name="connsiteX2" fmla="*/ 4930775 w 4930775"/>
              <a:gd name="connsiteY2" fmla="*/ 0 h 6858000"/>
              <a:gd name="connsiteX3" fmla="*/ 3456473 w 4930775"/>
              <a:gd name="connsiteY3" fmla="*/ 6858000 h 6858000"/>
              <a:gd name="connsiteX4" fmla="*/ 0 w 4930775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56610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0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30912" h="6858000">
                <a:moveTo>
                  <a:pt x="137" y="6858000"/>
                </a:moveTo>
                <a:cubicBezTo>
                  <a:pt x="91" y="4574065"/>
                  <a:pt x="46" y="2283935"/>
                  <a:pt x="0" y="0"/>
                </a:cubicBezTo>
                <a:lnTo>
                  <a:pt x="4930912" y="0"/>
                </a:lnTo>
                <a:lnTo>
                  <a:pt x="3438025" y="6858000"/>
                </a:lnTo>
                <a:lnTo>
                  <a:pt x="137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102723"/>
            <a:ext cx="3787149" cy="1961388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Font typeface="Arial"/>
              <a:buNone/>
              <a:defRPr lang="en-US" sz="17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19868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102723"/>
            <a:ext cx="3787149" cy="1961388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1764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adient">
    <p:bg>
      <p:bgPr>
        <a:gradFill flip="none" rotWithShape="1">
          <a:gsLst>
            <a:gs pos="10000">
              <a:schemeClr val="bg2"/>
            </a:gs>
            <a:gs pos="90000">
              <a:schemeClr val="tx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813" y="206007"/>
            <a:ext cx="8264215" cy="4115119"/>
          </a:xfrm>
        </p:spPr>
        <p:txBody>
          <a:bodyPr/>
          <a:lstStyle>
            <a:lvl1pPr>
              <a:defRPr sz="5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>
                <a:latin typeface="Trebuchet MS"/>
              </a:rPr>
              <a:t>27/10/2014</a:t>
            </a:r>
            <a:endParaRPr lang="en-US" dirty="0">
              <a:latin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>
                <a:latin typeface="Trebuchet MS"/>
              </a:rPr>
              <a:t>Copyright note text (8pt)</a:t>
            </a:r>
            <a:endParaRPr dirty="0">
              <a:latin typeface="Trebuchet MS"/>
            </a:endParaRPr>
          </a:p>
        </p:txBody>
      </p:sp>
      <p:pic>
        <p:nvPicPr>
          <p:cNvPr id="5" name="Picture 4" descr="SA_LOGO_ONLINE_WORDMARK_SPOT_NEG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4177" y="4807508"/>
            <a:ext cx="870326" cy="18891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22818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Hexag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hexagon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2676906"/>
            <a:ext cx="6303264" cy="32857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2" name="Picture 11" descr="SA_PRINT_LOGO_MRKT_SPOT_POS.png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743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triangl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51660"/>
            <a:ext cx="7491984" cy="43891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92" y="2427690"/>
            <a:ext cx="4107017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1" name="Picture 10" descr="SA_PRINT_LOGO_MRKT_SPOT_POS.png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6069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wav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52349"/>
            <a:ext cx="9144000" cy="32125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2" name="Picture 11" descr="SA_PRINT_LOGO_MRKT_SPOT_POS.png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63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53565A"/>
                </a:solidFill>
                <a:latin typeface="Trebuchet M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  <a:endParaRPr dirty="0">
              <a:solidFill>
                <a:srgbClr val="53565A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983364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0" y="1883664"/>
            <a:ext cx="9144000" cy="3259836"/>
            <a:chOff x="0" y="2511552"/>
            <a:chExt cx="9144000" cy="4346448"/>
          </a:xfrm>
        </p:grpSpPr>
        <p:pic>
          <p:nvPicPr>
            <p:cNvPr id="4" name="Picture 3" descr="cover_wave2.jp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511552"/>
              <a:ext cx="9144000" cy="4346448"/>
            </a:xfrm>
            <a:prstGeom prst="rect">
              <a:avLst/>
            </a:prstGeom>
          </p:spPr>
        </p:pic>
        <p:pic>
          <p:nvPicPr>
            <p:cNvPr id="10" name="Picture 9" descr="SA_LOGO_ONLINE_TAGLINE_SPOT_POS.jp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7253" y="6349009"/>
              <a:ext cx="1969008" cy="19507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PRINT_LOGO_MRKT_SPOT_POS.png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414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A_PRINT_LOGO_MRKT_SPOT_POS.png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6132" y="2040397"/>
            <a:ext cx="2474340" cy="766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424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08109" y="2260540"/>
            <a:ext cx="7772703" cy="1021556"/>
          </a:xfrm>
        </p:spPr>
        <p:txBody>
          <a:bodyPr anchor="t"/>
          <a:lstStyle>
            <a:lvl1pPr algn="l">
              <a:defRPr sz="39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SA_PRINT_LOGO_MRKT_CMYK_NEG.png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50526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1781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6582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8547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7766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56" y="1110995"/>
            <a:ext cx="403860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995"/>
            <a:ext cx="403860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53565A"/>
                </a:solidFill>
                <a:latin typeface="Trebuchet M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19098806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4809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73897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53565A"/>
                </a:solidFill>
                <a:latin typeface="Trebuchet M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6102984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971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21" y="1602988"/>
            <a:ext cx="1779239" cy="2937008"/>
          </a:xfrm>
        </p:spPr>
        <p:txBody>
          <a:bodyPr/>
          <a:lstStyle>
            <a:lvl1pPr marL="96424" indent="-96424">
              <a:spcBef>
                <a:spcPts val="260"/>
              </a:spcBef>
              <a:buFont typeface="+mj-lt"/>
              <a:buAutoNum type="arabicPeriod"/>
              <a:defRPr sz="900">
                <a:solidFill>
                  <a:schemeClr val="tx2"/>
                </a:solidFill>
              </a:defRPr>
            </a:lvl1pPr>
            <a:lvl2pPr marL="96424" indent="0">
              <a:spcBef>
                <a:spcPts val="260"/>
              </a:spcBef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53565A"/>
                </a:solidFill>
                <a:latin typeface="Trebuchet M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2"/>
          </p:nvPr>
        </p:nvSpPr>
        <p:spPr>
          <a:xfrm>
            <a:off x="2242209" y="1110626"/>
            <a:ext cx="6468132" cy="3428855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121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53565A"/>
                </a:solidFill>
                <a:latin typeface="Trebuchet M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774443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53565A"/>
                </a:solidFill>
                <a:latin typeface="Trebuchet M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463916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09" y="192048"/>
            <a:ext cx="8264216" cy="618166"/>
          </a:xfrm>
        </p:spPr>
        <p:txBody>
          <a:bodyPr/>
          <a:lstStyle>
            <a:lvl1pPr>
              <a:defRPr sz="33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813" y="1110374"/>
            <a:ext cx="8264215" cy="3425028"/>
          </a:xfrm>
        </p:spPr>
        <p:txBody>
          <a:bodyPr/>
          <a:lstStyle>
            <a:lvl1pPr marL="396720" indent="-396720">
              <a:spcBef>
                <a:spcPts val="1215"/>
              </a:spcBef>
              <a:buFont typeface="+mj-lt"/>
              <a:buAutoNum type="arabicPeriod"/>
              <a:defRPr sz="17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Trebuchet MS"/>
              </a:rPr>
              <a:t>27/10/2014</a:t>
            </a: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SPOT_POS.png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0878" y="4719285"/>
            <a:ext cx="1059340" cy="287756"/>
          </a:xfrm>
          <a:prstGeom prst="rect">
            <a:avLst/>
          </a:prstGeom>
        </p:spPr>
      </p:pic>
      <p:pic>
        <p:nvPicPr>
          <p:cNvPr id="4" name="Picture 3" descr="SA_PRINT_LOGO_MRKT_CMYK_NEG.png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510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Trebuchet MS"/>
              </a:rPr>
              <a:t>27/10/2014</a:t>
            </a: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027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 vert="horz" lIns="0" tIns="39673" rIns="0" bIns="39673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4813" y="1110374"/>
            <a:ext cx="8264215" cy="3425028"/>
          </a:xfrm>
          <a:prstGeom prst="rect">
            <a:avLst/>
          </a:prstGeom>
          <a:noFill/>
        </p:spPr>
        <p:txBody>
          <a:bodyPr vert="horz" lIns="0" tIns="39673" rIns="0" bIns="39673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pPr defTabSz="39672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t>Copyright note text (8pt)</a:t>
            </a:r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gradFill flip="none" rotWithShape="1">
              <a:gsLst>
                <a:gs pos="10000">
                  <a:schemeClr val="bg2"/>
                </a:gs>
                <a:gs pos="90000">
                  <a:schemeClr val="tx2"/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SA_PRINT_LOGO_MRKT_SPOT_POS.png"/>
          <p:cNvPicPr>
            <a:picLocks noChangeAspect="1"/>
          </p:cNvPicPr>
          <p:nvPr/>
        </p:nvPicPr>
        <p:blipFill rotWithShape="1"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0878" y="4719285"/>
            <a:ext cx="1059340" cy="287756"/>
          </a:xfrm>
          <a:prstGeom prst="rect">
            <a:avLst/>
          </a:prstGeom>
        </p:spPr>
      </p:pic>
      <p:sp>
        <p:nvSpPr>
          <p:cNvPr id="6" name="MSIPCMContentMarking" descr="{&quot;HashCode&quot;:170675586,&quot;Placement&quot;:&quot;Footer&quot;,&quot;Top&quot;:378.960144,&quot;Left&quot;:269.451416,&quot;SlideWidth&quot;:720,&quot;SlideHeight&quot;:405}">
            <a:extLst>
              <a:ext uri="{FF2B5EF4-FFF2-40B4-BE49-F238E27FC236}">
                <a16:creationId xmlns:a16="http://schemas.microsoft.com/office/drawing/2014/main" id="{6D91B81C-689A-4E54-8504-FAFEF5A5712C}"/>
              </a:ext>
            </a:extLst>
          </p:cNvPr>
          <p:cNvSpPr txBox="1"/>
          <p:nvPr/>
        </p:nvSpPr>
        <p:spPr>
          <a:xfrm>
            <a:off x="3422033" y="4812794"/>
            <a:ext cx="2299933" cy="33070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8000"/>
                </a:solidFill>
                <a:latin typeface="Calibri" panose="020F0502020204030204" pitchFamily="34" charset="0"/>
              </a:rPr>
              <a:t>Classification: General Use</a:t>
            </a:r>
          </a:p>
        </p:txBody>
      </p:sp>
    </p:spTree>
    <p:extLst>
      <p:ext uri="{BB962C8B-B14F-4D97-AF65-F5344CB8AC3E}">
        <p14:creationId xmlns:p14="http://schemas.microsoft.com/office/powerpoint/2010/main" val="2031697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  <p:sldLayoutId id="2147484108" r:id="rId12"/>
    <p:sldLayoutId id="2147484109" r:id="rId13"/>
    <p:sldLayoutId id="2147484110" r:id="rId14"/>
    <p:sldLayoutId id="2147484111" r:id="rId15"/>
    <p:sldLayoutId id="2147484112" r:id="rId16"/>
    <p:sldLayoutId id="2147484113" r:id="rId17"/>
    <p:sldLayoutId id="2147484114" r:id="rId18"/>
    <p:sldLayoutId id="2147484115" r:id="rId19"/>
    <p:sldLayoutId id="2147484116" r:id="rId20"/>
    <p:sldLayoutId id="2147484117" r:id="rId21"/>
    <p:sldLayoutId id="2147484119" r:id="rId22"/>
    <p:sldLayoutId id="2147484121" r:id="rId23"/>
    <p:sldLayoutId id="2147484122" r:id="rId24"/>
    <p:sldLayoutId id="2147484124" r:id="rId25"/>
    <p:sldLayoutId id="2147484125" r:id="rId26"/>
  </p:sldLayoutIdLst>
  <p:hf hdr="0" ftr="0" dt="0"/>
  <p:txStyles>
    <p:titleStyle>
      <a:lvl1pPr algn="l" defTabSz="396720" rtl="0" eaLnBrk="1" latinLnBrk="0" hangingPunct="1">
        <a:spcBef>
          <a:spcPct val="0"/>
        </a:spcBef>
        <a:buNone/>
        <a:defRPr sz="21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9738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3968" indent="-194226" algn="l" defTabSz="396720" rtl="0" eaLnBrk="1" latinLnBrk="0" hangingPunct="1">
        <a:spcBef>
          <a:spcPts val="521"/>
        </a:spcBef>
        <a:buFont typeface="Lucida Grande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3707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93444" indent="-199738" algn="l" defTabSz="396720" rtl="0" eaLnBrk="1" latinLnBrk="0" hangingPunct="1">
        <a:spcBef>
          <a:spcPts val="521"/>
        </a:spcBef>
        <a:buFont typeface="Lucida Grande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93184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975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697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75422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72142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672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3444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016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688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3613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80337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7705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7378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13" Type="http://schemas.openxmlformats.org/officeDocument/2006/relationships/image" Target="../media/image46.emf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3.wmf"/><Relationship Id="rId12" Type="http://schemas.openxmlformats.org/officeDocument/2006/relationships/oleObject" Target="../embeddings/oleObject18.bin"/><Relationship Id="rId17" Type="http://schemas.openxmlformats.org/officeDocument/2006/relationships/image" Target="../media/image47.emf"/><Relationship Id="rId2" Type="http://schemas.openxmlformats.org/officeDocument/2006/relationships/slideLayout" Target="../slideLayouts/slideLayout23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45.wmf"/><Relationship Id="rId5" Type="http://schemas.openxmlformats.org/officeDocument/2006/relationships/image" Target="../media/image34.emf"/><Relationship Id="rId15" Type="http://schemas.openxmlformats.org/officeDocument/2006/relationships/image" Target="../media/image49.emf"/><Relationship Id="rId10" Type="http://schemas.openxmlformats.org/officeDocument/2006/relationships/oleObject" Target="../embeddings/oleObject17.bin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4.emf"/><Relationship Id="rId14" Type="http://schemas.openxmlformats.org/officeDocument/2006/relationships/image" Target="../media/image4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2.e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2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4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oleObject" Target="../embeddings/oleObject23.bin"/><Relationship Id="rId7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5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3" Type="http://schemas.openxmlformats.org/officeDocument/2006/relationships/oleObject" Target="../embeddings/oleObject26.bin"/><Relationship Id="rId7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9.em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61.emf"/><Relationship Id="rId4" Type="http://schemas.openxmlformats.org/officeDocument/2006/relationships/image" Target="../media/image58.emf"/><Relationship Id="rId9" Type="http://schemas.openxmlformats.org/officeDocument/2006/relationships/oleObject" Target="../embeddings/oleObject2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64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62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emf"/><Relationship Id="rId3" Type="http://schemas.openxmlformats.org/officeDocument/2006/relationships/oleObject" Target="../embeddings/oleObject32.bin"/><Relationship Id="rId7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6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65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13" Type="http://schemas.openxmlformats.org/officeDocument/2006/relationships/oleObject" Target="../embeddings/oleObject38.bin"/><Relationship Id="rId18" Type="http://schemas.openxmlformats.org/officeDocument/2006/relationships/image" Target="../media/image72.emf"/><Relationship Id="rId3" Type="http://schemas.openxmlformats.org/officeDocument/2006/relationships/tags" Target="../tags/tag2.xml"/><Relationship Id="rId21" Type="http://schemas.openxmlformats.org/officeDocument/2006/relationships/image" Target="../media/image75.png"/><Relationship Id="rId7" Type="http://schemas.openxmlformats.org/officeDocument/2006/relationships/oleObject" Target="../embeddings/oleObject35.bin"/><Relationship Id="rId12" Type="http://schemas.openxmlformats.org/officeDocument/2006/relationships/image" Target="../media/image69.emf"/><Relationship Id="rId17" Type="http://schemas.openxmlformats.org/officeDocument/2006/relationships/oleObject" Target="../embeddings/oleObject40.bin"/><Relationship Id="rId2" Type="http://schemas.openxmlformats.org/officeDocument/2006/relationships/tags" Target="../tags/tag1.xml"/><Relationship Id="rId16" Type="http://schemas.openxmlformats.org/officeDocument/2006/relationships/image" Target="../media/image71.emf"/><Relationship Id="rId20" Type="http://schemas.openxmlformats.org/officeDocument/2006/relationships/image" Target="../media/image73.emf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4.png"/><Relationship Id="rId11" Type="http://schemas.openxmlformats.org/officeDocument/2006/relationships/oleObject" Target="../embeddings/oleObject37.bin"/><Relationship Id="rId5" Type="http://schemas.openxmlformats.org/officeDocument/2006/relationships/notesSlide" Target="../notesSlides/notesSlide8.xml"/><Relationship Id="rId15" Type="http://schemas.openxmlformats.org/officeDocument/2006/relationships/oleObject" Target="../embeddings/oleObject39.bin"/><Relationship Id="rId10" Type="http://schemas.openxmlformats.org/officeDocument/2006/relationships/image" Target="../media/image56.emf"/><Relationship Id="rId19" Type="http://schemas.openxmlformats.org/officeDocument/2006/relationships/oleObject" Target="../embeddings/oleObject41.bin"/><Relationship Id="rId4" Type="http://schemas.openxmlformats.org/officeDocument/2006/relationships/slideLayout" Target="../slideLayouts/slideLayout23.xml"/><Relationship Id="rId9" Type="http://schemas.openxmlformats.org/officeDocument/2006/relationships/oleObject" Target="../embeddings/oleObject36.bin"/><Relationship Id="rId14" Type="http://schemas.openxmlformats.org/officeDocument/2006/relationships/image" Target="../media/image70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7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43.bin"/><Relationship Id="rId11" Type="http://schemas.openxmlformats.org/officeDocument/2006/relationships/image" Target="../media/image79.emf"/><Relationship Id="rId5" Type="http://schemas.openxmlformats.org/officeDocument/2006/relationships/image" Target="../media/image76.emf"/><Relationship Id="rId10" Type="http://schemas.openxmlformats.org/officeDocument/2006/relationships/oleObject" Target="../embeddings/oleObject45.bin"/><Relationship Id="rId4" Type="http://schemas.openxmlformats.org/officeDocument/2006/relationships/oleObject" Target="../embeddings/oleObject42.bin"/><Relationship Id="rId9" Type="http://schemas.openxmlformats.org/officeDocument/2006/relationships/image" Target="../media/image7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80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emf"/><Relationship Id="rId3" Type="http://schemas.openxmlformats.org/officeDocument/2006/relationships/oleObject" Target="../embeddings/oleObject47.bin"/><Relationship Id="rId7" Type="http://schemas.openxmlformats.org/officeDocument/2006/relationships/oleObject" Target="../embeddings/oleObject23.bin"/><Relationship Id="rId12" Type="http://schemas.openxmlformats.org/officeDocument/2006/relationships/image" Target="../media/image57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2.emf"/><Relationship Id="rId11" Type="http://schemas.openxmlformats.org/officeDocument/2006/relationships/oleObject" Target="../embeddings/oleObject25.bin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56.emf"/><Relationship Id="rId4" Type="http://schemas.openxmlformats.org/officeDocument/2006/relationships/image" Target="../media/image81.emf"/><Relationship Id="rId9" Type="http://schemas.openxmlformats.org/officeDocument/2006/relationships/oleObject" Target="../embeddings/oleObject2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8.jpeg"/><Relationship Id="rId5" Type="http://schemas.openxmlformats.org/officeDocument/2006/relationships/image" Target="../media/image35.gif"/><Relationship Id="rId4" Type="http://schemas.openxmlformats.org/officeDocument/2006/relationships/image" Target="../media/image81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85.emf"/><Relationship Id="rId4" Type="http://schemas.openxmlformats.org/officeDocument/2006/relationships/oleObject" Target="../embeddings/oleObject49.bin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emf"/><Relationship Id="rId3" Type="http://schemas.openxmlformats.org/officeDocument/2006/relationships/oleObject" Target="../embeddings/oleObject50.bin"/><Relationship Id="rId7" Type="http://schemas.openxmlformats.org/officeDocument/2006/relationships/oleObject" Target="../embeddings/oleObject5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7.emf"/><Relationship Id="rId5" Type="http://schemas.openxmlformats.org/officeDocument/2006/relationships/oleObject" Target="../embeddings/oleObject51.bin"/><Relationship Id="rId4" Type="http://schemas.openxmlformats.org/officeDocument/2006/relationships/image" Target="../media/image86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89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13" Type="http://schemas.openxmlformats.org/officeDocument/2006/relationships/image" Target="../media/image90.emf"/><Relationship Id="rId3" Type="http://schemas.openxmlformats.org/officeDocument/2006/relationships/tags" Target="../tags/tag4.xml"/><Relationship Id="rId7" Type="http://schemas.openxmlformats.org/officeDocument/2006/relationships/image" Target="../media/image68.emf"/><Relationship Id="rId12" Type="http://schemas.openxmlformats.org/officeDocument/2006/relationships/oleObject" Target="../embeddings/oleObject55.bin"/><Relationship Id="rId2" Type="http://schemas.openxmlformats.org/officeDocument/2006/relationships/tags" Target="../tags/tag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35.bin"/><Relationship Id="rId11" Type="http://schemas.openxmlformats.org/officeDocument/2006/relationships/image" Target="../media/image93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91.emf"/><Relationship Id="rId10" Type="http://schemas.openxmlformats.org/officeDocument/2006/relationships/image" Target="../media/image92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63.emf"/><Relationship Id="rId14" Type="http://schemas.openxmlformats.org/officeDocument/2006/relationships/oleObject" Target="../embeddings/oleObject56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3" Type="http://schemas.openxmlformats.org/officeDocument/2006/relationships/tags" Target="../tags/tag6.xml"/><Relationship Id="rId7" Type="http://schemas.openxmlformats.org/officeDocument/2006/relationships/oleObject" Target="../embeddings/oleObject35.bin"/><Relationship Id="rId2" Type="http://schemas.openxmlformats.org/officeDocument/2006/relationships/tags" Target="../tags/tag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4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tags" Target="../tags/tag8.xml"/><Relationship Id="rId7" Type="http://schemas.openxmlformats.org/officeDocument/2006/relationships/image" Target="../media/image68.emf"/><Relationship Id="rId2" Type="http://schemas.openxmlformats.org/officeDocument/2006/relationships/tags" Target="../tags/tag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96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9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20.emf"/><Relationship Id="rId3" Type="http://schemas.openxmlformats.org/officeDocument/2006/relationships/oleObject" Target="../embeddings/oleObject2.bin"/><Relationship Id="rId7" Type="http://schemas.openxmlformats.org/officeDocument/2006/relationships/image" Target="../media/image23.tiff"/><Relationship Id="rId12" Type="http://schemas.openxmlformats.org/officeDocument/2006/relationships/image" Target="../media/image17.emf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9.emf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tiff"/><Relationship Id="rId11" Type="http://schemas.openxmlformats.org/officeDocument/2006/relationships/oleObject" Target="../embeddings/oleObject4.bin"/><Relationship Id="rId5" Type="http://schemas.openxmlformats.org/officeDocument/2006/relationships/image" Target="../media/image21.tiff"/><Relationship Id="rId15" Type="http://schemas.openxmlformats.org/officeDocument/2006/relationships/oleObject" Target="../embeddings/oleObject6.bin"/><Relationship Id="rId10" Type="http://schemas.openxmlformats.org/officeDocument/2006/relationships/image" Target="../media/image24.png"/><Relationship Id="rId4" Type="http://schemas.openxmlformats.org/officeDocument/2006/relationships/image" Target="../media/image15.emf"/><Relationship Id="rId9" Type="http://schemas.openxmlformats.org/officeDocument/2006/relationships/image" Target="../media/image16.emf"/><Relationship Id="rId14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5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9.ti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notesSlide" Target="../notesSlides/notesSlide3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0.emf"/><Relationship Id="rId11" Type="http://schemas.openxmlformats.org/officeDocument/2006/relationships/image" Target="../media/image33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2.emf"/><Relationship Id="rId4" Type="http://schemas.openxmlformats.org/officeDocument/2006/relationships/image" Target="../media/image29.tif"/><Relationship Id="rId9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4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6.tiff"/><Relationship Id="rId4" Type="http://schemas.openxmlformats.org/officeDocument/2006/relationships/image" Target="../media/image35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0.sv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9.png"/><Relationship Id="rId11" Type="http://schemas.openxmlformats.org/officeDocument/2006/relationships/image" Target="../media/image37.emf"/><Relationship Id="rId5" Type="http://schemas.openxmlformats.org/officeDocument/2006/relationships/image" Target="../media/image38.jpeg"/><Relationship Id="rId10" Type="http://schemas.openxmlformats.org/officeDocument/2006/relationships/oleObject" Target="../embeddings/oleObject13.bin"/><Relationship Id="rId4" Type="http://schemas.openxmlformats.org/officeDocument/2006/relationships/image" Target="../media/image35.gif"/><Relationship Id="rId9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D80502-444E-46BA-A26A-049113BF6C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8788" y="957407"/>
            <a:ext cx="8231187" cy="1215129"/>
          </a:xfrm>
        </p:spPr>
        <p:txBody>
          <a:bodyPr/>
          <a:lstStyle/>
          <a:p>
            <a:r>
              <a:rPr lang="en-US" sz="2800" dirty="0"/>
              <a:t>ethylene oligomerization:</a:t>
            </a:r>
            <a:br>
              <a:rPr lang="en-US" sz="2800" dirty="0"/>
            </a:br>
            <a:r>
              <a:rPr lang="en-US" sz="2800" dirty="0"/>
              <a:t>molecular strategies to avoid polyethylene fouling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7228DB-CD3B-45EE-B3C0-2E4C7CCA00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88" y="1955862"/>
            <a:ext cx="6094412" cy="1215128"/>
          </a:xfrm>
        </p:spPr>
        <p:txBody>
          <a:bodyPr/>
          <a:lstStyle/>
          <a:p>
            <a:r>
              <a:rPr lang="en-US" dirty="0"/>
              <a:t>Sibo Lin*, </a:t>
            </a:r>
            <a:r>
              <a:rPr lang="en-US" dirty="0" err="1"/>
              <a:t>YagnaSENI</a:t>
            </a:r>
            <a:r>
              <a:rPr lang="en-US" dirty="0"/>
              <a:t> Ghosh, DANA A. WONG, DOUGLAS THEBERGE, BRIAN HANNA</a:t>
            </a:r>
            <a:endParaRPr lang="en-US" baseline="30000" dirty="0"/>
          </a:p>
          <a:p>
            <a:r>
              <a:rPr lang="en-US" sz="800" dirty="0"/>
              <a:t>Aramco services company: Aramco Research Center -- Boston</a:t>
            </a:r>
          </a:p>
        </p:txBody>
      </p:sp>
    </p:spTree>
    <p:extLst>
      <p:ext uri="{BB962C8B-B14F-4D97-AF65-F5344CB8AC3E}">
        <p14:creationId xmlns:p14="http://schemas.microsoft.com/office/powerpoint/2010/main" val="7263643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6F48D0D-1B09-4588-9463-7C2C452E6F15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C5DB41-8AFE-4B07-A790-83EED5F12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Greatly Reduced PE via Surface Confined Catalysts</a:t>
            </a: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3B96C15-2481-40F2-A280-F92E2328399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1271629"/>
              </p:ext>
            </p:extLst>
          </p:nvPr>
        </p:nvGraphicFramePr>
        <p:xfrm>
          <a:off x="1634035" y="945707"/>
          <a:ext cx="2818502" cy="12840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4" name="CS ChemDraw Drawing" r:id="rId4" imgW="2661800" imgH="1212576" progId="ChemDraw.Document.6.0">
                  <p:embed/>
                </p:oleObj>
              </mc:Choice>
              <mc:Fallback>
                <p:oleObj name="CS ChemDraw Drawing" r:id="rId4" imgW="2661800" imgH="1212576" progId="ChemDraw.Document.6.0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F3B96C15-2481-40F2-A280-F92E23283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4035" y="945707"/>
                        <a:ext cx="2818502" cy="12840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" name="Object 37">
            <a:extLst>
              <a:ext uri="{FF2B5EF4-FFF2-40B4-BE49-F238E27FC236}">
                <a16:creationId xmlns:a16="http://schemas.microsoft.com/office/drawing/2014/main" id="{6952F0E7-1795-4A34-9611-E27E049C141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18670" y="532360"/>
          <a:ext cx="1532632" cy="774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5" name="CS ChemDraw Drawing" r:id="rId6" imgW="2586240" imgH="1314720" progId="ChemDraw.Document.6.0">
                  <p:embed/>
                </p:oleObj>
              </mc:Choice>
              <mc:Fallback>
                <p:oleObj name="CS ChemDraw Drawing" r:id="rId6" imgW="2586240" imgH="1314720" progId="ChemDraw.Document.6.0">
                  <p:embed/>
                  <p:pic>
                    <p:nvPicPr>
                      <p:cNvPr id="38" name="Object 37">
                        <a:extLst>
                          <a:ext uri="{FF2B5EF4-FFF2-40B4-BE49-F238E27FC236}">
                            <a16:creationId xmlns:a16="http://schemas.microsoft.com/office/drawing/2014/main" id="{6952F0E7-1795-4A34-9611-E27E049C141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18670" y="532360"/>
                        <a:ext cx="1532632" cy="774799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" name="Object 40">
            <a:extLst>
              <a:ext uri="{FF2B5EF4-FFF2-40B4-BE49-F238E27FC236}">
                <a16:creationId xmlns:a16="http://schemas.microsoft.com/office/drawing/2014/main" id="{A91F34FC-6663-445B-93EA-75F586CC66C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508017" y="528593"/>
          <a:ext cx="1575197" cy="677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6" name="CS ChemDraw Drawing" r:id="rId8" imgW="2660469" imgH="1152767" progId="ChemDraw.Document.6.0">
                  <p:embed/>
                </p:oleObj>
              </mc:Choice>
              <mc:Fallback>
                <p:oleObj name="CS ChemDraw Drawing" r:id="rId8" imgW="2660469" imgH="1152767" progId="ChemDraw.Document.6.0">
                  <p:embed/>
                  <p:pic>
                    <p:nvPicPr>
                      <p:cNvPr id="41" name="Object 40">
                        <a:extLst>
                          <a:ext uri="{FF2B5EF4-FFF2-40B4-BE49-F238E27FC236}">
                            <a16:creationId xmlns:a16="http://schemas.microsoft.com/office/drawing/2014/main" id="{A91F34FC-6663-445B-93EA-75F586CC66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08017" y="528593"/>
                        <a:ext cx="1575197" cy="677466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48D510D9-4A03-4423-973C-689461D704C8}"/>
              </a:ext>
            </a:extLst>
          </p:cNvPr>
          <p:cNvSpPr txBox="1"/>
          <p:nvPr/>
        </p:nvSpPr>
        <p:spPr>
          <a:xfrm>
            <a:off x="5846269" y="652375"/>
            <a:ext cx="295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53565A">
                    <a:lumMod val="50000"/>
                  </a:srgbClr>
                </a:solidFill>
              </a:rPr>
              <a:t>A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D1F4F12-B068-431A-9A01-13D4D2E7C2D0}"/>
              </a:ext>
            </a:extLst>
          </p:cNvPr>
          <p:cNvSpPr txBox="1"/>
          <p:nvPr/>
        </p:nvSpPr>
        <p:spPr>
          <a:xfrm>
            <a:off x="7470481" y="668708"/>
            <a:ext cx="295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53565A">
                    <a:lumMod val="50000"/>
                  </a:srgbClr>
                </a:solidFill>
              </a:rPr>
              <a:t>B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E1A6F92-113D-452B-8633-D063EB4AF8A7}"/>
              </a:ext>
            </a:extLst>
          </p:cNvPr>
          <p:cNvGrpSpPr/>
          <p:nvPr/>
        </p:nvGrpSpPr>
        <p:grpSpPr>
          <a:xfrm>
            <a:off x="5850027" y="1467664"/>
            <a:ext cx="3106802" cy="848321"/>
            <a:chOff x="7816815" y="1839319"/>
            <a:chExt cx="4142403" cy="1131094"/>
          </a:xfrm>
        </p:grpSpPr>
        <p:graphicFrame>
          <p:nvGraphicFramePr>
            <p:cNvPr id="39" name="Object 38">
              <a:extLst>
                <a:ext uri="{FF2B5EF4-FFF2-40B4-BE49-F238E27FC236}">
                  <a16:creationId xmlns:a16="http://schemas.microsoft.com/office/drawing/2014/main" id="{7C3A8275-3E76-48E8-93A8-BB56DBA24424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8036875" y="1839319"/>
            <a:ext cx="1787128" cy="113109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217" name="CS ChemDraw Drawing" r:id="rId10" imgW="2278800" imgH="1445760" progId="ChemDraw.Document.6.0">
                    <p:embed/>
                  </p:oleObj>
                </mc:Choice>
                <mc:Fallback>
                  <p:oleObj name="CS ChemDraw Drawing" r:id="rId10" imgW="2278800" imgH="1445760" progId="ChemDraw.Document.6.0">
                    <p:embed/>
                    <p:pic>
                      <p:nvPicPr>
                        <p:cNvPr id="39" name="Object 38">
                          <a:extLst>
                            <a:ext uri="{FF2B5EF4-FFF2-40B4-BE49-F238E27FC236}">
                              <a16:creationId xmlns:a16="http://schemas.microsoft.com/office/drawing/2014/main" id="{7C3A8275-3E76-48E8-93A8-BB56DBA24424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1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036875" y="1839319"/>
                          <a:ext cx="1787128" cy="1131094"/>
                        </a:xfrm>
                        <a:prstGeom prst="rect">
                          <a:avLst/>
                        </a:prstGeom>
                        <a:noFill/>
                        <a:ln w="9525">
                          <a:noFill/>
                          <a:miter lim="800000"/>
                          <a:headEnd/>
                          <a:tailEnd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0" name="Object 39">
              <a:extLst>
                <a:ext uri="{FF2B5EF4-FFF2-40B4-BE49-F238E27FC236}">
                  <a16:creationId xmlns:a16="http://schemas.microsoft.com/office/drawing/2014/main" id="{2C9037EA-5F4F-4CD3-97FA-C282CF4540E4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0209793" y="1843089"/>
            <a:ext cx="1749425" cy="112732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218" name="CS ChemDraw Drawing" r:id="rId12" imgW="2216953" imgH="1440803" progId="ChemDraw.Document.6.0">
                    <p:embed/>
                  </p:oleObj>
                </mc:Choice>
                <mc:Fallback>
                  <p:oleObj name="CS ChemDraw Drawing" r:id="rId12" imgW="2216953" imgH="1440803" progId="ChemDraw.Document.6.0">
                    <p:embed/>
                    <p:pic>
                      <p:nvPicPr>
                        <p:cNvPr id="40" name="Object 39">
                          <a:extLst>
                            <a:ext uri="{FF2B5EF4-FFF2-40B4-BE49-F238E27FC236}">
                              <a16:creationId xmlns:a16="http://schemas.microsoft.com/office/drawing/2014/main" id="{2C9037EA-5F4F-4CD3-97FA-C282CF4540E4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3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209793" y="1843089"/>
                          <a:ext cx="1749425" cy="1127324"/>
                        </a:xfrm>
                        <a:prstGeom prst="rect">
                          <a:avLst/>
                        </a:prstGeom>
                        <a:noFill/>
                        <a:ln w="9525">
                          <a:noFill/>
                          <a:miter lim="800000"/>
                          <a:headEnd/>
                          <a:tailEnd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7C73AD7-F48D-4BE8-B67D-0D27A6AB04F7}"/>
                </a:ext>
              </a:extLst>
            </p:cNvPr>
            <p:cNvSpPr txBox="1"/>
            <p:nvPr/>
          </p:nvSpPr>
          <p:spPr>
            <a:xfrm>
              <a:off x="7816815" y="1967647"/>
              <a:ext cx="4401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53565A">
                      <a:lumMod val="50000"/>
                    </a:srgbClr>
                  </a:solidFill>
                </a:rPr>
                <a:t>A’</a:t>
              </a:r>
              <a:endParaRPr lang="en-US" sz="1200" b="1" baseline="-25000" dirty="0">
                <a:solidFill>
                  <a:srgbClr val="53565A">
                    <a:lumMod val="50000"/>
                  </a:srgbClr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5AE9B0F-434F-419E-B793-A1F79324C6BF}"/>
                </a:ext>
              </a:extLst>
            </p:cNvPr>
            <p:cNvSpPr txBox="1"/>
            <p:nvPr/>
          </p:nvSpPr>
          <p:spPr>
            <a:xfrm>
              <a:off x="9975689" y="1957220"/>
              <a:ext cx="45140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53565A">
                      <a:lumMod val="50000"/>
                    </a:srgbClr>
                  </a:solidFill>
                </a:rPr>
                <a:t>B’</a:t>
              </a:r>
              <a:endParaRPr lang="en-US" sz="1200" b="1" baseline="-25000" dirty="0">
                <a:solidFill>
                  <a:srgbClr val="53565A">
                    <a:lumMod val="50000"/>
                  </a:srgbClr>
                </a:solidFill>
              </a:endParaRPr>
            </a:p>
          </p:txBody>
        </p:sp>
      </p:grpSp>
      <p:pic>
        <p:nvPicPr>
          <p:cNvPr id="46" name="Picture 45">
            <a:extLst>
              <a:ext uri="{FF2B5EF4-FFF2-40B4-BE49-F238E27FC236}">
                <a16:creationId xmlns:a16="http://schemas.microsoft.com/office/drawing/2014/main" id="{BC6F68A2-59C4-404B-B403-18A921D45F3E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66613" b="21725"/>
          <a:stretch/>
        </p:blipFill>
        <p:spPr>
          <a:xfrm>
            <a:off x="1243499" y="3982797"/>
            <a:ext cx="7135364" cy="207750"/>
          </a:xfrm>
          <a:prstGeom prst="rect">
            <a:avLst/>
          </a:prstGeom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2E5B75C9-2C82-4712-8195-4C2920305A24}"/>
              </a:ext>
            </a:extLst>
          </p:cNvPr>
          <p:cNvGrpSpPr/>
          <p:nvPr/>
        </p:nvGrpSpPr>
        <p:grpSpPr>
          <a:xfrm>
            <a:off x="6543806" y="1227514"/>
            <a:ext cx="1877430" cy="218696"/>
            <a:chOff x="8725075" y="1636685"/>
            <a:chExt cx="2503240" cy="291594"/>
          </a:xfrm>
        </p:grpSpPr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8AFDBA7-195D-4FA1-9A79-AEEBD54FD818}"/>
                </a:ext>
              </a:extLst>
            </p:cNvPr>
            <p:cNvSpPr/>
            <p:nvPr/>
          </p:nvSpPr>
          <p:spPr>
            <a:xfrm rot="5400000">
              <a:off x="8753682" y="1608079"/>
              <a:ext cx="291593" cy="348807"/>
            </a:xfrm>
            <a:prstGeom prst="rightArrow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" name="Arrow: Right 47">
              <a:extLst>
                <a:ext uri="{FF2B5EF4-FFF2-40B4-BE49-F238E27FC236}">
                  <a16:creationId xmlns:a16="http://schemas.microsoft.com/office/drawing/2014/main" id="{82CF4681-1DC6-4AFC-827D-4AB83E4492FB}"/>
                </a:ext>
              </a:extLst>
            </p:cNvPr>
            <p:cNvSpPr/>
            <p:nvPr/>
          </p:nvSpPr>
          <p:spPr>
            <a:xfrm rot="5400000">
              <a:off x="10908115" y="1608078"/>
              <a:ext cx="291593" cy="348807"/>
            </a:xfrm>
            <a:prstGeom prst="rightArrow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D5087C79-A589-4609-B981-039D3485B301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b="30857"/>
          <a:stretch/>
        </p:blipFill>
        <p:spPr>
          <a:xfrm>
            <a:off x="1243498" y="2715089"/>
            <a:ext cx="7131606" cy="1284041"/>
          </a:xfrm>
          <a:prstGeom prst="rect">
            <a:avLst/>
          </a:prstGeom>
        </p:spPr>
      </p:pic>
      <p:graphicFrame>
        <p:nvGraphicFramePr>
          <p:cNvPr id="59" name="Object 58">
            <a:extLst>
              <a:ext uri="{FF2B5EF4-FFF2-40B4-BE49-F238E27FC236}">
                <a16:creationId xmlns:a16="http://schemas.microsoft.com/office/drawing/2014/main" id="{1D3BC415-2A9B-406A-B512-82A6579BA6C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4417" y="183088"/>
          <a:ext cx="642945" cy="3974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9" name="CS ChemDraw Drawing" r:id="rId16" imgW="1242838" imgH="768096" progId="ChemDraw.Document.6.0">
                  <p:embed/>
                </p:oleObj>
              </mc:Choice>
              <mc:Fallback>
                <p:oleObj name="CS ChemDraw Drawing" r:id="rId16" imgW="1242838" imgH="768096" progId="ChemDraw.Document.6.0">
                  <p:embed/>
                  <p:pic>
                    <p:nvPicPr>
                      <p:cNvPr id="59" name="Object 58">
                        <a:extLst>
                          <a:ext uri="{FF2B5EF4-FFF2-40B4-BE49-F238E27FC236}">
                            <a16:creationId xmlns:a16="http://schemas.microsoft.com/office/drawing/2014/main" id="{1D3BC415-2A9B-406A-B512-82A6579BA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4417" y="183088"/>
                        <a:ext cx="642945" cy="39742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ctangle 59">
            <a:extLst>
              <a:ext uri="{FF2B5EF4-FFF2-40B4-BE49-F238E27FC236}">
                <a16:creationId xmlns:a16="http://schemas.microsoft.com/office/drawing/2014/main" id="{2F27826D-3378-4F18-AF3B-CE043CB5E82C}"/>
              </a:ext>
            </a:extLst>
          </p:cNvPr>
          <p:cNvSpPr/>
          <p:nvPr/>
        </p:nvSpPr>
        <p:spPr>
          <a:xfrm>
            <a:off x="1997691" y="4660972"/>
            <a:ext cx="514861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dirty="0"/>
              <a:t>“Surface supported catalysts with pore size control” SA6751 filed non-provisionally 08/18/2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F31FBF1-59E2-4CA0-A2A4-0A7A0B24CC59}"/>
              </a:ext>
            </a:extLst>
          </p:cNvPr>
          <p:cNvSpPr txBox="1"/>
          <p:nvPr/>
        </p:nvSpPr>
        <p:spPr>
          <a:xfrm>
            <a:off x="1589678" y="4206925"/>
            <a:ext cx="60284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u="sng" dirty="0"/>
              <a:t>Conditions: </a:t>
            </a:r>
            <a:r>
              <a:rPr lang="en-US" sz="900" dirty="0"/>
              <a:t>0.8 </a:t>
            </a:r>
            <a:r>
              <a:rPr lang="en-US" sz="900" dirty="0" err="1"/>
              <a:t>umol</a:t>
            </a:r>
            <a:r>
              <a:rPr lang="en-US" sz="900" dirty="0"/>
              <a:t> Cr or Fe; 500:1 Al(MMAO-3A)/Cr; </a:t>
            </a:r>
            <a:r>
              <a:rPr lang="en-US" sz="900" dirty="0" err="1"/>
              <a:t>MeCy</a:t>
            </a:r>
            <a:r>
              <a:rPr lang="en-US" sz="900" dirty="0"/>
              <a:t> solvent; 1h at 45 ºC</a:t>
            </a:r>
          </a:p>
        </p:txBody>
      </p:sp>
    </p:spTree>
    <p:extLst>
      <p:ext uri="{BB962C8B-B14F-4D97-AF65-F5344CB8AC3E}">
        <p14:creationId xmlns:p14="http://schemas.microsoft.com/office/powerpoint/2010/main" val="3946785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B0498-78D6-41E9-9A60-E2B5702DA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thylene Tetramerization Challenges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1E60B4E2-8D1D-46EE-9837-7CCAF211979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208735" y="654183"/>
          <a:ext cx="2726531" cy="14966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3" name="CS ChemDraw Drawing" r:id="rId4" imgW="2797940" imgH="1528087" progId="ChemDraw.Document.6.0">
                  <p:embed/>
                </p:oleObj>
              </mc:Choice>
              <mc:Fallback>
                <p:oleObj name="CS ChemDraw Drawing" r:id="rId4" imgW="2797940" imgH="1528087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1E60B4E2-8D1D-46EE-9837-7CCAF2119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08735" y="654183"/>
                        <a:ext cx="2726531" cy="14966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5901172A-3E31-4735-9213-02E866721EAE}"/>
              </a:ext>
            </a:extLst>
          </p:cNvPr>
          <p:cNvGrpSpPr/>
          <p:nvPr/>
        </p:nvGrpSpPr>
        <p:grpSpPr>
          <a:xfrm>
            <a:off x="6624244" y="703616"/>
            <a:ext cx="2210938" cy="2227235"/>
            <a:chOff x="9007522" y="1828800"/>
            <a:chExt cx="2947917" cy="296964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7CE8F31-62F2-4A27-8E42-B77EE1B42D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266"/>
            <a:stretch/>
          </p:blipFill>
          <p:spPr>
            <a:xfrm>
              <a:off x="9842752" y="2794386"/>
              <a:ext cx="1301250" cy="200406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F67B3AE-88E9-4DAC-9CC8-D451C6DD5DB6}"/>
                </a:ext>
              </a:extLst>
            </p:cNvPr>
            <p:cNvSpPr txBox="1"/>
            <p:nvPr/>
          </p:nvSpPr>
          <p:spPr>
            <a:xfrm flipH="1">
              <a:off x="9007522" y="1828800"/>
              <a:ext cx="2947917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polyethylene byproduct fouling can cause reactor unit downtime</a:t>
              </a: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7108F40-9F4F-4219-85D2-1468F2C5728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4188"/>
          <a:stretch/>
        </p:blipFill>
        <p:spPr>
          <a:xfrm>
            <a:off x="2519756" y="2288726"/>
            <a:ext cx="4104488" cy="62966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3F8DBD77-FCF4-4D00-B05D-0229DD471202}"/>
              </a:ext>
            </a:extLst>
          </p:cNvPr>
          <p:cNvSpPr txBox="1">
            <a:spLocks/>
          </p:cNvSpPr>
          <p:nvPr/>
        </p:nvSpPr>
        <p:spPr>
          <a:xfrm>
            <a:off x="434970" y="3119281"/>
            <a:ext cx="6456889" cy="1789481"/>
          </a:xfrm>
          <a:prstGeom prst="rect">
            <a:avLst/>
          </a:prstGeom>
        </p:spPr>
        <p:txBody>
          <a:bodyPr vert="horz" lIns="0" tIns="34272" rIns="0" bIns="34272" rtlCol="0" anchor="t">
            <a:noAutofit/>
          </a:bodyPr>
          <a:lstStyle>
            <a:lvl1pPr algn="l" defTabSz="45696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800" dirty="0"/>
              <a:t>Target</a:t>
            </a:r>
          </a:p>
          <a:p>
            <a:r>
              <a:rPr lang="en-US" sz="1500" dirty="0">
                <a:solidFill>
                  <a:schemeClr val="accent6"/>
                </a:solidFill>
              </a:rPr>
              <a:t>Molecular design of novel catalysts tha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/>
                </a:solidFill>
              </a:rPr>
              <a:t>Increase activ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/>
                </a:solidFill>
              </a:rPr>
              <a:t>Increase 1-octene selectiv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/>
                </a:solidFill>
              </a:rPr>
              <a:t>Decrease PE </a:t>
            </a:r>
            <a:r>
              <a:rPr lang="en-US" sz="1500" dirty="0" err="1">
                <a:solidFill>
                  <a:schemeClr val="accent6"/>
                </a:solidFill>
              </a:rPr>
              <a:t>wt</a:t>
            </a:r>
            <a:r>
              <a:rPr lang="en-US" sz="1500" dirty="0">
                <a:solidFill>
                  <a:schemeClr val="accent6"/>
                </a:solidFill>
              </a:rPr>
              <a:t>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B16AE5-2C37-46F7-9DE0-F4B792CC413E}"/>
              </a:ext>
            </a:extLst>
          </p:cNvPr>
          <p:cNvSpPr txBox="1"/>
          <p:nvPr/>
        </p:nvSpPr>
        <p:spPr>
          <a:xfrm>
            <a:off x="2286000" y="2930851"/>
            <a:ext cx="457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Bollman et al, 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J. Am. Chem. Soc. 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2004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126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, 14712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Blann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et al, 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J. </a:t>
            </a:r>
            <a:r>
              <a:rPr lang="en-US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Catal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2007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249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, 244.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E1196EB-1173-40BD-98B4-990446A1B0F0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14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 bldLvl="4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31C15AF-3985-44DC-8DED-98168F5B7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gand degradation may result in polyethylen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18620-48D0-49C9-A383-1C89371647F8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691989E-6DDA-4B76-8C75-03F6EB271C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474124"/>
              </p:ext>
            </p:extLst>
          </p:nvPr>
        </p:nvGraphicFramePr>
        <p:xfrm>
          <a:off x="1884639" y="738856"/>
          <a:ext cx="5374722" cy="300764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106943">
                  <a:extLst>
                    <a:ext uri="{9D8B030D-6E8A-4147-A177-3AD203B41FA5}">
                      <a16:colId xmlns:a16="http://schemas.microsoft.com/office/drawing/2014/main" val="1479878734"/>
                    </a:ext>
                  </a:extLst>
                </a:gridCol>
                <a:gridCol w="1106943">
                  <a:extLst>
                    <a:ext uri="{9D8B030D-6E8A-4147-A177-3AD203B41FA5}">
                      <a16:colId xmlns:a16="http://schemas.microsoft.com/office/drawing/2014/main" val="1301261615"/>
                    </a:ext>
                  </a:extLst>
                </a:gridCol>
                <a:gridCol w="790209">
                  <a:extLst>
                    <a:ext uri="{9D8B030D-6E8A-4147-A177-3AD203B41FA5}">
                      <a16:colId xmlns:a16="http://schemas.microsoft.com/office/drawing/2014/main" val="1657410397"/>
                    </a:ext>
                  </a:extLst>
                </a:gridCol>
                <a:gridCol w="790209">
                  <a:extLst>
                    <a:ext uri="{9D8B030D-6E8A-4147-A177-3AD203B41FA5}">
                      <a16:colId xmlns:a16="http://schemas.microsoft.com/office/drawing/2014/main" val="239504373"/>
                    </a:ext>
                  </a:extLst>
                </a:gridCol>
                <a:gridCol w="790209">
                  <a:extLst>
                    <a:ext uri="{9D8B030D-6E8A-4147-A177-3AD203B41FA5}">
                      <a16:colId xmlns:a16="http://schemas.microsoft.com/office/drawing/2014/main" val="3055918566"/>
                    </a:ext>
                  </a:extLst>
                </a:gridCol>
                <a:gridCol w="790209">
                  <a:extLst>
                    <a:ext uri="{9D8B030D-6E8A-4147-A177-3AD203B41FA5}">
                      <a16:colId xmlns:a16="http://schemas.microsoft.com/office/drawing/2014/main" val="3988458446"/>
                    </a:ext>
                  </a:extLst>
                </a:gridCol>
              </a:tblGrid>
              <a:tr h="5020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ligan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39672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effectLst/>
                        </a:rPr>
                        <a:t>acid adduct</a:t>
                      </a:r>
                      <a:r>
                        <a:rPr lang="en-US" sz="1100" u="none" strike="noStrike" baseline="30000" dirty="0">
                          <a:effectLst/>
                        </a:rPr>
                        <a:t>1</a:t>
                      </a:r>
                      <a:endParaRPr lang="en-US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activity</a:t>
                      </a:r>
                      <a:r>
                        <a:rPr lang="en-US" sz="1100" u="none" strike="noStrike" baseline="30000" dirty="0">
                          <a:effectLst/>
                        </a:rPr>
                        <a:t>2</a:t>
                      </a:r>
                      <a:endParaRPr lang="en-US" sz="11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C8 (</a:t>
                      </a:r>
                      <a:r>
                        <a:rPr lang="en-US" sz="1100" u="none" strike="noStrike" dirty="0" err="1">
                          <a:effectLst/>
                        </a:rPr>
                        <a:t>wt</a:t>
                      </a:r>
                      <a:r>
                        <a:rPr lang="en-US" sz="1100" u="none" strike="noStrike" dirty="0">
                          <a:effectLst/>
                        </a:rPr>
                        <a:t>%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C6 (</a:t>
                      </a:r>
                      <a:r>
                        <a:rPr lang="en-US" sz="1100" u="none" strike="noStrike" dirty="0" err="1">
                          <a:effectLst/>
                        </a:rPr>
                        <a:t>wt</a:t>
                      </a:r>
                      <a:r>
                        <a:rPr lang="en-US" sz="1100" u="none" strike="noStrike" dirty="0">
                          <a:effectLst/>
                        </a:rPr>
                        <a:t>%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PE (</a:t>
                      </a:r>
                      <a:r>
                        <a:rPr lang="en-US" sz="1100" u="none" strike="noStrike" dirty="0" err="1">
                          <a:effectLst/>
                        </a:rPr>
                        <a:t>wt</a:t>
                      </a:r>
                      <a:r>
                        <a:rPr lang="en-US" sz="1100" u="none" strike="noStrike" dirty="0">
                          <a:effectLst/>
                        </a:rPr>
                        <a:t>%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7941737"/>
                  </a:ext>
                </a:extLst>
              </a:tr>
              <a:tr h="1252788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8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4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6978560"/>
                  </a:ext>
                </a:extLst>
              </a:tr>
              <a:tr h="1252788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7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5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u="none" strike="noStrike" dirty="0">
                        <a:effectLst/>
                      </a:endParaRPr>
                    </a:p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688186"/>
                  </a:ext>
                </a:extLst>
              </a:tr>
            </a:tbl>
          </a:graphicData>
        </a:graphic>
      </p:graphicFrame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36D83E25-A70D-4697-8A83-63E5329D15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801579"/>
              </p:ext>
            </p:extLst>
          </p:nvPr>
        </p:nvGraphicFramePr>
        <p:xfrm>
          <a:off x="1919821" y="1386368"/>
          <a:ext cx="1033463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" name="CS ChemDraw Drawing" r:id="rId3" imgW="741565" imgH="1546514" progId="ChemDraw.Document.6.0">
                  <p:embed/>
                </p:oleObj>
              </mc:Choice>
              <mc:Fallback>
                <p:oleObj name="CS ChemDraw Drawing" r:id="rId3" imgW="741565" imgH="1546514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19821" y="1386368"/>
                        <a:ext cx="1033463" cy="2159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D7ABBC11-4533-4310-A1D2-91A767A93389}"/>
              </a:ext>
            </a:extLst>
          </p:cNvPr>
          <p:cNvSpPr txBox="1"/>
          <p:nvPr/>
        </p:nvSpPr>
        <p:spPr>
          <a:xfrm>
            <a:off x="1794944" y="3561963"/>
            <a:ext cx="47660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baseline="30000" dirty="0"/>
              <a:t>1 </a:t>
            </a:r>
            <a:r>
              <a:rPr lang="en-US" dirty="0"/>
              <a:t>Product with H[BAr</a:t>
            </a:r>
            <a:r>
              <a:rPr lang="en-US" baseline="30000" dirty="0"/>
              <a:t>F</a:t>
            </a:r>
            <a:r>
              <a:rPr lang="en-US" baseline="-25000" dirty="0"/>
              <a:t>4</a:t>
            </a:r>
            <a:r>
              <a:rPr lang="en-US" dirty="0"/>
              <a:t>]</a:t>
            </a:r>
          </a:p>
          <a:p>
            <a:pPr algn="l"/>
            <a:r>
              <a:rPr lang="en-US" baseline="30000" dirty="0"/>
              <a:t>2</a:t>
            </a:r>
            <a:r>
              <a:rPr lang="en-US" baseline="-25000" dirty="0"/>
              <a:t> </a:t>
            </a:r>
            <a:r>
              <a:rPr lang="en-US" dirty="0"/>
              <a:t>Catalytic activity (g/g Cr/h) with CrCl</a:t>
            </a:r>
            <a:r>
              <a:rPr lang="en-US" baseline="-25000" dirty="0"/>
              <a:t>3</a:t>
            </a:r>
            <a:r>
              <a:rPr lang="en-US" dirty="0"/>
              <a:t>(THF)</a:t>
            </a:r>
            <a:r>
              <a:rPr lang="en-US" baseline="-25000" dirty="0"/>
              <a:t>3</a:t>
            </a:r>
            <a:r>
              <a:rPr lang="en-US" dirty="0"/>
              <a:t>, 300 equiv. MMAO-3A, 60 psi C</a:t>
            </a:r>
            <a:r>
              <a:rPr lang="en-US" baseline="-25000" dirty="0"/>
              <a:t>2</a:t>
            </a:r>
            <a:r>
              <a:rPr lang="en-US" dirty="0"/>
              <a:t>H</a:t>
            </a:r>
            <a:r>
              <a:rPr lang="en-US" baseline="-25000" dirty="0"/>
              <a:t>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C311E7-25A0-4136-AAB4-B4E43A5AD6E7}"/>
              </a:ext>
            </a:extLst>
          </p:cNvPr>
          <p:cNvSpPr txBox="1"/>
          <p:nvPr/>
        </p:nvSpPr>
        <p:spPr>
          <a:xfrm>
            <a:off x="1794944" y="3947949"/>
            <a:ext cx="348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 err="1"/>
              <a:t>Agapie</a:t>
            </a:r>
            <a:r>
              <a:rPr lang="en-US" dirty="0"/>
              <a:t> and coworkers, </a:t>
            </a:r>
            <a:r>
              <a:rPr lang="en-US" i="1" dirty="0"/>
              <a:t>Organometallics</a:t>
            </a:r>
            <a:r>
              <a:rPr lang="en-US" dirty="0"/>
              <a:t>, </a:t>
            </a:r>
            <a:r>
              <a:rPr lang="en-US" b="1" dirty="0"/>
              <a:t>2017</a:t>
            </a:r>
            <a:r>
              <a:rPr lang="en-US" dirty="0"/>
              <a:t>, </a:t>
            </a:r>
            <a:r>
              <a:rPr lang="en-US" i="1" dirty="0"/>
              <a:t>36</a:t>
            </a:r>
            <a:r>
              <a:rPr lang="en-US" dirty="0"/>
              <a:t>, 1640</a:t>
            </a:r>
            <a:endParaRPr lang="en-US" sz="900" dirty="0"/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2C73BA50-3543-482B-B3D0-9BDF029D42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35233191"/>
              </p:ext>
            </p:extLst>
          </p:nvPr>
        </p:nvGraphicFramePr>
        <p:xfrm>
          <a:off x="3049921" y="1202466"/>
          <a:ext cx="1128047" cy="2431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1" name="CS ChemDraw Drawing" r:id="rId5" imgW="775508" imgH="1672936" progId="ChemDraw.Document.6.0">
                  <p:embed/>
                </p:oleObj>
              </mc:Choice>
              <mc:Fallback>
                <p:oleObj name="CS ChemDraw Drawing" r:id="rId5" imgW="775508" imgH="1672936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49921" y="1202466"/>
                        <a:ext cx="1128047" cy="24314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E10FB81F-B3E6-4125-BFF2-E0B3C4A61CD2}"/>
              </a:ext>
            </a:extLst>
          </p:cNvPr>
          <p:cNvSpPr/>
          <p:nvPr/>
        </p:nvSpPr>
        <p:spPr>
          <a:xfrm>
            <a:off x="6406604" y="537407"/>
            <a:ext cx="887939" cy="3024556"/>
          </a:xfrm>
          <a:prstGeom prst="ellipse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01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609EC3-7807-476E-92FA-0BE7E5D64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othes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2015EF-FF66-49BB-A5D1-E7774745F2D1}"/>
              </a:ext>
            </a:extLst>
          </p:cNvPr>
          <p:cNvSpPr txBox="1"/>
          <p:nvPr/>
        </p:nvSpPr>
        <p:spPr>
          <a:xfrm>
            <a:off x="1595249" y="3086987"/>
            <a:ext cx="6223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800" dirty="0"/>
          </a:p>
          <a:p>
            <a:r>
              <a:rPr lang="en-US" sz="1800" dirty="0"/>
              <a:t>PNP instability is correlated with PE formation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387D8F2C-77DD-4FEE-9AB2-77F8CABB65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4435753"/>
              </p:ext>
            </p:extLst>
          </p:nvPr>
        </p:nvGraphicFramePr>
        <p:xfrm>
          <a:off x="2064598" y="1427582"/>
          <a:ext cx="1191337" cy="868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5" name="CS ChemDraw Drawing" r:id="rId3" imgW="737408" imgH="538942" progId="ChemDraw.Document.6.0">
                  <p:embed/>
                </p:oleObj>
              </mc:Choice>
              <mc:Fallback>
                <p:oleObj name="CS ChemDraw Drawing" r:id="rId3" imgW="737408" imgH="538942" progId="ChemDraw.Document.6.0">
                  <p:embed/>
                  <p:pic>
                    <p:nvPicPr>
                      <p:cNvPr id="18" name="Object 17">
                        <a:extLst>
                          <a:ext uri="{FF2B5EF4-FFF2-40B4-BE49-F238E27FC236}">
                            <a16:creationId xmlns:a16="http://schemas.microsoft.com/office/drawing/2014/main" id="{B11A6FC5-9F04-4E45-9097-C8EA72E444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64598" y="1427582"/>
                        <a:ext cx="1191337" cy="868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AAAD2423-765A-4CFF-A32A-447265B1387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1853418"/>
              </p:ext>
            </p:extLst>
          </p:nvPr>
        </p:nvGraphicFramePr>
        <p:xfrm>
          <a:off x="3198018" y="935620"/>
          <a:ext cx="2747963" cy="796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6" name="CS ChemDraw Drawing" r:id="rId5" imgW="1811828" imgH="524048" progId="ChemDraw.Document.6.0">
                  <p:embed/>
                </p:oleObj>
              </mc:Choice>
              <mc:Fallback>
                <p:oleObj name="CS ChemDraw Drawing" r:id="rId5" imgW="1811828" imgH="524048" progId="ChemDraw.Document.6.0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90AEE25A-0A8E-4CEA-A0B1-018E251A5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98018" y="935620"/>
                        <a:ext cx="2747963" cy="796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9CC5F273-F7EF-4B46-8470-69D3E54AE53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53589532"/>
              </p:ext>
            </p:extLst>
          </p:nvPr>
        </p:nvGraphicFramePr>
        <p:xfrm>
          <a:off x="5888066" y="1427582"/>
          <a:ext cx="1369440" cy="7449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7" name="CS ChemDraw Drawing" r:id="rId7" imgW="866948" imgH="470708" progId="ChemDraw.Document.6.0">
                  <p:embed/>
                </p:oleObj>
              </mc:Choice>
              <mc:Fallback>
                <p:oleObj name="CS ChemDraw Drawing" r:id="rId7" imgW="866948" imgH="470708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5B020DC8-96B9-4584-9C41-F8875018F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888066" y="1427582"/>
                        <a:ext cx="1369440" cy="7449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F46E424-AFCF-4130-BB18-74D1DC935DD7}"/>
              </a:ext>
            </a:extLst>
          </p:cNvPr>
          <p:cNvSpPr/>
          <p:nvPr/>
        </p:nvSpPr>
        <p:spPr>
          <a:xfrm>
            <a:off x="1692815" y="2788069"/>
            <a:ext cx="6028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/>
              <a:t>computational modelling can predict PNP ligand stabilit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FC0A449-BC21-4D5F-AC15-9AF370BBB725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304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allAtOnce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94C52F3-CC00-484E-8770-0B74D649C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 prediction of isomerization thermochemistry (</a:t>
            </a:r>
            <a:r>
              <a:rPr lang="el-GR" dirty="0"/>
              <a:t>Δ</a:t>
            </a:r>
            <a:r>
              <a:rPr lang="en-US" dirty="0"/>
              <a:t>G</a:t>
            </a:r>
            <a:r>
              <a:rPr lang="en-US" baseline="-25000" dirty="0"/>
              <a:t>PPN</a:t>
            </a:r>
            <a:r>
              <a:rPr lang="en-US" dirty="0"/>
              <a:t>)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A4E8DB99-96A5-413A-9D0A-62AF72759FC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82427114"/>
              </p:ext>
            </p:extLst>
          </p:nvPr>
        </p:nvGraphicFramePr>
        <p:xfrm>
          <a:off x="3156740" y="815975"/>
          <a:ext cx="2747963" cy="796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2" name="CS ChemDraw Drawing" r:id="rId3" imgW="1811482" imgH="524048" progId="ChemDraw.Document.6.0">
                  <p:embed/>
                </p:oleObj>
              </mc:Choice>
              <mc:Fallback>
                <p:oleObj name="CS ChemDraw Drawing" r:id="rId3" imgW="1811482" imgH="524048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EFE19C74-6B96-4F35-97DA-A3EAB5D11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56740" y="815975"/>
                        <a:ext cx="2747963" cy="796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52880309-FDBF-4916-A4E6-549965CE511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87700699"/>
              </p:ext>
            </p:extLst>
          </p:nvPr>
        </p:nvGraphicFramePr>
        <p:xfrm>
          <a:off x="1029887" y="1943155"/>
          <a:ext cx="4321175" cy="2043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3" name="CS ChemDraw Drawing" r:id="rId5" imgW="1956608" imgH="926176" progId="ChemDraw.Document.6.0">
                  <p:embed/>
                </p:oleObj>
              </mc:Choice>
              <mc:Fallback>
                <p:oleObj name="CS ChemDraw Drawing" r:id="rId5" imgW="1956608" imgH="926176" progId="ChemDraw.Document.6.0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7F0653B0-9583-47E8-9034-E09E879F77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29887" y="1943155"/>
                        <a:ext cx="4321175" cy="20431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B61BB665-97D0-464D-A243-145660C0D771}"/>
              </a:ext>
            </a:extLst>
          </p:cNvPr>
          <p:cNvSpPr/>
          <p:nvPr/>
        </p:nvSpPr>
        <p:spPr>
          <a:xfrm>
            <a:off x="2320956" y="3110878"/>
            <a:ext cx="61913" cy="61913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8A7F0E-7243-408F-802C-0605EA87C315}"/>
              </a:ext>
            </a:extLst>
          </p:cNvPr>
          <p:cNvCxnSpPr>
            <a:cxnSpLocks/>
          </p:cNvCxnSpPr>
          <p:nvPr/>
        </p:nvCxnSpPr>
        <p:spPr>
          <a:xfrm>
            <a:off x="2384818" y="3194105"/>
            <a:ext cx="513556" cy="0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2C797D3-6204-43A6-9FA2-4E734FA262BC}"/>
              </a:ext>
            </a:extLst>
          </p:cNvPr>
          <p:cNvCxnSpPr>
            <a:cxnSpLocks/>
          </p:cNvCxnSpPr>
          <p:nvPr/>
        </p:nvCxnSpPr>
        <p:spPr>
          <a:xfrm>
            <a:off x="3234924" y="3406830"/>
            <a:ext cx="1466850" cy="0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F69E935D-C1E1-4C01-885C-C831D42971D0}"/>
              </a:ext>
            </a:extLst>
          </p:cNvPr>
          <p:cNvSpPr/>
          <p:nvPr/>
        </p:nvSpPr>
        <p:spPr>
          <a:xfrm>
            <a:off x="2020487" y="3744967"/>
            <a:ext cx="61913" cy="6191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748D871-0613-4426-961D-6C131285CF54}"/>
              </a:ext>
            </a:extLst>
          </p:cNvPr>
          <p:cNvCxnSpPr>
            <a:cxnSpLocks/>
          </p:cNvCxnSpPr>
          <p:nvPr/>
        </p:nvCxnSpPr>
        <p:spPr>
          <a:xfrm>
            <a:off x="2097084" y="3867205"/>
            <a:ext cx="801290" cy="0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1544962-5B11-46D6-B4A2-B2A0B6C9B6B7}"/>
              </a:ext>
            </a:extLst>
          </p:cNvPr>
          <p:cNvCxnSpPr>
            <a:cxnSpLocks/>
          </p:cNvCxnSpPr>
          <p:nvPr/>
        </p:nvCxnSpPr>
        <p:spPr>
          <a:xfrm flipV="1">
            <a:off x="3060296" y="3437788"/>
            <a:ext cx="7" cy="397033"/>
          </a:xfrm>
          <a:prstGeom prst="straightConnector1">
            <a:avLst/>
          </a:prstGeom>
          <a:ln w="12700" cmpd="sng">
            <a:solidFill>
              <a:schemeClr val="accent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137B2DC-AD8C-4266-93CE-391AF5D48365}"/>
              </a:ext>
            </a:extLst>
          </p:cNvPr>
          <p:cNvCxnSpPr/>
          <p:nvPr/>
        </p:nvCxnSpPr>
        <p:spPr>
          <a:xfrm>
            <a:off x="3060296" y="3216330"/>
            <a:ext cx="0" cy="158750"/>
          </a:xfrm>
          <a:prstGeom prst="straightConnector1">
            <a:avLst/>
          </a:prstGeom>
          <a:ln w="12700" cmpd="sng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08CDA6B-9C9A-4695-B8A6-EAB5C696E847}"/>
              </a:ext>
            </a:extLst>
          </p:cNvPr>
          <p:cNvSpPr/>
          <p:nvPr/>
        </p:nvSpPr>
        <p:spPr>
          <a:xfrm>
            <a:off x="2898374" y="3167670"/>
            <a:ext cx="331426" cy="45719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FD249D9-067A-44F1-A1DC-237088EC9D25}"/>
              </a:ext>
            </a:extLst>
          </p:cNvPr>
          <p:cNvSpPr/>
          <p:nvPr/>
        </p:nvSpPr>
        <p:spPr>
          <a:xfrm>
            <a:off x="2903136" y="3383970"/>
            <a:ext cx="331426" cy="45719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80734F-3C09-4729-8800-E2CCA482683B}"/>
              </a:ext>
            </a:extLst>
          </p:cNvPr>
          <p:cNvSpPr/>
          <p:nvPr/>
        </p:nvSpPr>
        <p:spPr>
          <a:xfrm>
            <a:off x="2898374" y="3841964"/>
            <a:ext cx="331426" cy="45719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6" name="Object 25">
            <a:extLst>
              <a:ext uri="{FF2B5EF4-FFF2-40B4-BE49-F238E27FC236}">
                <a16:creationId xmlns:a16="http://schemas.microsoft.com/office/drawing/2014/main" id="{D498FD2F-8976-434F-B930-3F7CDE32520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11476137"/>
              </p:ext>
            </p:extLst>
          </p:nvPr>
        </p:nvGraphicFramePr>
        <p:xfrm>
          <a:off x="2020487" y="2795163"/>
          <a:ext cx="331426" cy="522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" name="CS ChemDraw Drawing" r:id="rId7" imgW="153439" imgH="243494" progId="ChemDraw.Document.6.0">
                  <p:embed/>
                </p:oleObj>
              </mc:Choice>
              <mc:Fallback>
                <p:oleObj name="CS ChemDraw Drawing" r:id="rId7" imgW="153439" imgH="243494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20487" y="2795163"/>
                        <a:ext cx="331426" cy="5227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632160CA-B494-4457-97FC-8373DA26454E}"/>
              </a:ext>
            </a:extLst>
          </p:cNvPr>
          <p:cNvSpPr txBox="1"/>
          <p:nvPr/>
        </p:nvSpPr>
        <p:spPr>
          <a:xfrm>
            <a:off x="3196480" y="3161441"/>
            <a:ext cx="7601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wrong </a:t>
            </a:r>
            <a:r>
              <a:rPr lang="el-GR" dirty="0">
                <a:solidFill>
                  <a:srgbClr val="FF0000"/>
                </a:solidFill>
              </a:rPr>
              <a:t>Δ</a:t>
            </a:r>
            <a:r>
              <a:rPr lang="en-US" dirty="0">
                <a:solidFill>
                  <a:srgbClr val="FF0000"/>
                </a:solidFill>
              </a:rPr>
              <a:t>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56FA77F-B98F-48CA-A58B-72315BECF8A9}"/>
              </a:ext>
            </a:extLst>
          </p:cNvPr>
          <p:cNvSpPr txBox="1"/>
          <p:nvPr/>
        </p:nvSpPr>
        <p:spPr>
          <a:xfrm>
            <a:off x="3250180" y="3527796"/>
            <a:ext cx="6527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ight </a:t>
            </a:r>
            <a:r>
              <a:rPr lang="el-GR" dirty="0">
                <a:solidFill>
                  <a:schemeClr val="accent2"/>
                </a:solidFill>
              </a:rPr>
              <a:t>Δ</a:t>
            </a:r>
            <a:r>
              <a:rPr lang="en-US" dirty="0">
                <a:solidFill>
                  <a:schemeClr val="accent2"/>
                </a:solidFill>
              </a:rPr>
              <a:t>G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D1E00ED-7C49-462D-B5F6-E92D7B4D77DA}"/>
              </a:ext>
            </a:extLst>
          </p:cNvPr>
          <p:cNvSpPr/>
          <p:nvPr/>
        </p:nvSpPr>
        <p:spPr>
          <a:xfrm>
            <a:off x="4697012" y="3317928"/>
            <a:ext cx="61913" cy="61913"/>
          </a:xfrm>
          <a:prstGeom prst="ellipse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413733F-7B7F-478C-AF12-AFA871B8AD4C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3" name="Object 42">
            <a:extLst>
              <a:ext uri="{FF2B5EF4-FFF2-40B4-BE49-F238E27FC236}">
                <a16:creationId xmlns:a16="http://schemas.microsoft.com/office/drawing/2014/main" id="{9D780013-161B-4635-861C-1C0D446E636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18867138"/>
              </p:ext>
            </p:extLst>
          </p:nvPr>
        </p:nvGraphicFramePr>
        <p:xfrm>
          <a:off x="6450493" y="1348679"/>
          <a:ext cx="1670053" cy="2081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" name="CS ChemDraw Drawing" r:id="rId9" imgW="714548" imgH="886345" progId="ChemDraw.Document.6.0">
                  <p:embed/>
                </p:oleObj>
              </mc:Choice>
              <mc:Fallback>
                <p:oleObj name="CS ChemDraw Drawing" r:id="rId9" imgW="714548" imgH="886345" progId="ChemDraw.Document.6.0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2B4FBA2B-B479-447B-9134-BEE3780100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6450493" y="1348679"/>
                        <a:ext cx="1670053" cy="2081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A4650906-EE5D-44C6-86C3-F4340C87C02B}"/>
              </a:ext>
            </a:extLst>
          </p:cNvPr>
          <p:cNvSpPr txBox="1"/>
          <p:nvPr/>
        </p:nvSpPr>
        <p:spPr>
          <a:xfrm>
            <a:off x="7118093" y="1566869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9286C5E-C132-4F8C-8C09-6AB885E7E046}"/>
              </a:ext>
            </a:extLst>
          </p:cNvPr>
          <p:cNvSpPr txBox="1"/>
          <p:nvPr/>
        </p:nvSpPr>
        <p:spPr>
          <a:xfrm>
            <a:off x="6892667" y="1858931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B7D6331-8FD3-4C3D-858A-761D69047CD4}"/>
              </a:ext>
            </a:extLst>
          </p:cNvPr>
          <p:cNvSpPr txBox="1"/>
          <p:nvPr/>
        </p:nvSpPr>
        <p:spPr>
          <a:xfrm>
            <a:off x="7402881" y="2125669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06CB647-A0E7-4A3A-994C-809E4614DED3}"/>
              </a:ext>
            </a:extLst>
          </p:cNvPr>
          <p:cNvSpPr txBox="1"/>
          <p:nvPr/>
        </p:nvSpPr>
        <p:spPr>
          <a:xfrm>
            <a:off x="7308593" y="2498279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558401F-6D21-460B-9EC0-D825B66E5BD0}"/>
              </a:ext>
            </a:extLst>
          </p:cNvPr>
          <p:cNvSpPr txBox="1"/>
          <p:nvPr/>
        </p:nvSpPr>
        <p:spPr>
          <a:xfrm>
            <a:off x="7076815" y="2042803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83819DC-AC83-4146-AEC6-270DEAE98E67}"/>
              </a:ext>
            </a:extLst>
          </p:cNvPr>
          <p:cNvSpPr txBox="1"/>
          <p:nvPr/>
        </p:nvSpPr>
        <p:spPr>
          <a:xfrm>
            <a:off x="6902192" y="2336632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2A4FBBA-EA0F-46E3-A539-2766406F01D3}"/>
              </a:ext>
            </a:extLst>
          </p:cNvPr>
          <p:cNvSpPr txBox="1"/>
          <p:nvPr/>
        </p:nvSpPr>
        <p:spPr>
          <a:xfrm>
            <a:off x="6670415" y="2860074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0A5D819-BB05-4033-B0EA-93230105DF2D}"/>
              </a:ext>
            </a:extLst>
          </p:cNvPr>
          <p:cNvSpPr txBox="1"/>
          <p:nvPr/>
        </p:nvSpPr>
        <p:spPr>
          <a:xfrm>
            <a:off x="6048308" y="3413974"/>
            <a:ext cx="20441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how many conformers?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2B30F90-FCA4-443B-B0B0-7713C6DBF309}"/>
              </a:ext>
            </a:extLst>
          </p:cNvPr>
          <p:cNvSpPr/>
          <p:nvPr/>
        </p:nvSpPr>
        <p:spPr>
          <a:xfrm>
            <a:off x="5317078" y="3683990"/>
            <a:ext cx="350660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/>
              <a:t> ca. </a:t>
            </a:r>
            <a:r>
              <a:rPr lang="en-US" sz="1400" dirty="0">
                <a:solidFill>
                  <a:schemeClr val="tx2"/>
                </a:solidFill>
              </a:rPr>
              <a:t>3</a:t>
            </a:r>
            <a:r>
              <a:rPr lang="en-US" sz="1400" baseline="30000" dirty="0"/>
              <a:t>3</a:t>
            </a:r>
            <a:r>
              <a:rPr lang="en-US" sz="1400" dirty="0"/>
              <a:t> x </a:t>
            </a:r>
            <a:r>
              <a:rPr lang="en-US" sz="1400" dirty="0">
                <a:solidFill>
                  <a:schemeClr val="bg2"/>
                </a:solidFill>
              </a:rPr>
              <a:t>2</a:t>
            </a:r>
            <a:r>
              <a:rPr lang="en-US" sz="1400" baseline="30000" dirty="0"/>
              <a:t>4</a:t>
            </a:r>
            <a:r>
              <a:rPr lang="en-US" sz="1400" dirty="0"/>
              <a:t> = </a:t>
            </a:r>
            <a:r>
              <a:rPr lang="en-US" sz="1400" b="1" dirty="0"/>
              <a:t>432</a:t>
            </a:r>
          </a:p>
          <a:p>
            <a:endParaRPr lang="en-US" sz="1400" b="1" dirty="0"/>
          </a:p>
          <a:p>
            <a:r>
              <a:rPr lang="en-US" sz="1400" dirty="0"/>
              <a:t>too many to rely on human intuition or employ brute-force high-level simulations</a:t>
            </a:r>
          </a:p>
        </p:txBody>
      </p:sp>
    </p:spTree>
    <p:extLst>
      <p:ext uri="{BB962C8B-B14F-4D97-AF65-F5344CB8AC3E}">
        <p14:creationId xmlns:p14="http://schemas.microsoft.com/office/powerpoint/2010/main" val="427378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10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42" presetClass="path" presetSubtype="0" accel="50000" fill="hold" grpId="0" nodeType="withEffect" p14:presetBounceEnd="25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0347 -0.0429 L -0.00035 -2.46914E-6 " pathEditMode="relative" rAng="0" ptsTypes="AA" p14:bounceEnd="25000">
                                          <p:cBhvr>
                                            <p:cTn id="16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91" y="213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7" presetID="42" presetClass="path" presetSubtype="0" accel="50000" fill="hold" grpId="0" nodeType="withEffect" p14:presetBounceEnd="25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0329 -0.08457 L -0.00034 4.07407E-6 " pathEditMode="relative" rAng="0" ptsTypes="AA" p14:bounceEnd="25000">
                                          <p:cBhvr>
                                            <p:cTn id="18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39" y="4228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0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2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5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6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34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6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1" fill="hold">
                          <p:stCondLst>
                            <p:cond delay="indefinite"/>
                          </p:stCondLst>
                          <p:childTnLst>
                            <p:par>
                              <p:cTn id="4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3" presetID="10" presetClass="entr" presetSubtype="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0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3194 -0.1321 L 0.03194 -0.13179 C 0.03055 -0.13827 0.03107 -0.13549 0.0302 -0.14074 L 0.02986 -0.14259 C 0.02968 -0.14321 0.02968 -0.14414 0.02951 -0.14444 C 0.02743 -0.15 0.02986 -0.14321 0.02847 -0.14815 C 0.02812 -0.14907 0.02795 -0.14938 0.02777 -0.15 C 0.0276 -0.15062 0.02743 -0.15154 0.02743 -0.15185 C 0.02708 -0.15278 0.02691 -0.15309 0.02673 -0.1537 C 0.02656 -0.15432 0.02656 -0.15525 0.02638 -0.15555 C 0.02604 -0.15617 0.02569 -0.15648 0.02534 -0.15679 C 0.02517 -0.15741 0.02517 -0.15833 0.025 -0.15864 C 0.02361 -0.16327 0.02378 -0.16235 0.02152 -0.16481 L 0.02048 -0.16605 C 0.02013 -0.16667 0.01979 -0.16728 0.01944 -0.16728 C 0.01701 -0.16883 0.01996 -0.16728 0.01666 -0.16852 C 0.01614 -0.16883 0.01597 -0.16914 0.01562 -0.16914 C 0.01441 -0.16914 0.01319 -0.16914 0.01215 -0.16852 C 0.01007 -0.1679 0.01059 -0.16728 0.00902 -0.16543 C 0.00868 -0.16512 0.00833 -0.16512 0.00798 -0.16481 C 0.00763 -0.1642 0.00746 -0.16358 0.00729 -0.16296 C 0.00694 -0.16265 0.00642 -0.16235 0.00625 -0.16173 C 0.0059 -0.16142 0.00607 -0.16049 0.0059 -0.15988 C 0.00486 -0.15679 0.00451 -0.15741 0.00416 -0.15432 C 0.00399 -0.15339 0.00382 -0.15185 0.00382 -0.15062 C 0.00382 -0.13549 0.00416 -0.12037 0.00416 -0.10494 C 0.00416 -0.09784 0.00399 -0.09074 0.00382 -0.08333 C 0.00364 -0.07901 0.00347 -0.0787 0.00312 -0.07531 C 0.00295 -0.07315 0.0026 -0.06759 0.00243 -0.06481 C 0.00225 -0.0642 0.00208 -0.06389 0.00208 -0.06296 L 0.00138 -0.05802 C 0.00121 -0.05679 0.00104 -0.05525 0.00104 -0.0537 C 0.00069 -0.05123 0.00069 -0.05185 0.00034 -0.04938 C 0.00017 -0.04876 4.44444E-6 -0.04784 4.44444E-6 -0.04691 C -0.00035 -0.04506 -0.00053 -0.0429 -0.0007 -0.04074 C -0.00087 -0.03951 -0.00105 -0.03827 -0.00105 -0.03704 C -0.00122 -0.03642 -0.00139 -0.03549 -0.00139 -0.03457 C -0.00174 -0.03179 -0.00191 -0.02901 -0.00209 -0.02593 C -0.00157 -0.00895 -0.00243 -0.02006 -0.00139 -0.01358 C -0.00139 -0.01296 -0.00139 -0.01204 -0.00105 -0.01111 C -0.00035 -0.00864 0.00104 -0.0071 0.00104 -0.0037 L 0.00104 -0.00309 L -0.00035 0.00062 " pathEditMode="relative" rAng="0" ptsTypes="AAAAAAAAAAAAAAAAAAAAAAAAAAAAAAAAAAAAAAAAAAA">
                                          <p:cBhvr>
                                            <p:cTn id="47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701" y="478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8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50" dur="10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1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52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4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5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5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60" presetID="2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62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7" fill="hold">
                          <p:stCondLst>
                            <p:cond delay="indefinite"/>
                          </p:stCondLst>
                          <p:childTnLst>
                            <p:par>
                              <p:cTn id="6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9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4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75" fill="hold">
                          <p:stCondLst>
                            <p:cond delay="indefinite"/>
                          </p:stCondLst>
                          <p:childTnLst>
                            <p:par>
                              <p:cTn id="7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77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81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3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85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7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8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8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1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93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6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9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9" dur="5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0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01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3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4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105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7" dur="500"/>
                                            <p:tgtEl>
                                              <p:spTgt spid="5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8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10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1" dur="500"/>
                                            <p:tgtEl>
                                              <p:spTgt spid="54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15" grpId="0" animBg="1"/>
          <p:bldP spid="15" grpId="1" animBg="1"/>
          <p:bldP spid="23" grpId="0" animBg="1"/>
          <p:bldP spid="24" grpId="0" animBg="1"/>
          <p:bldP spid="25" grpId="0" animBg="1"/>
          <p:bldP spid="28" grpId="0"/>
          <p:bldP spid="29" grpId="0"/>
          <p:bldP spid="32" grpId="0" animBg="1"/>
          <p:bldP spid="32" grpId="1" animBg="1"/>
          <p:bldP spid="44" grpId="0"/>
          <p:bldP spid="45" grpId="0"/>
          <p:bldP spid="46" grpId="0"/>
          <p:bldP spid="47" grpId="0"/>
          <p:bldP spid="48" grpId="0"/>
          <p:bldP spid="50" grpId="0"/>
          <p:bldP spid="51" grpId="0"/>
          <p:bldP spid="52" grpId="0"/>
          <p:bldP spid="54" grpId="0" uiExpand="1" build="p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10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42" presetClass="path" presetSubtype="0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0347 -0.0429 L -0.00035 -2.46914E-6 " pathEditMode="relative" rAng="0" ptsTypes="AA">
                                          <p:cBhvr>
                                            <p:cTn id="16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91" y="213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7" presetID="42" presetClass="path" presetSubtype="0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0329 -0.08457 L -0.00034 4.07407E-6 " pathEditMode="relative" rAng="0" ptsTypes="AA">
                                          <p:cBhvr>
                                            <p:cTn id="18" dur="20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39" y="4228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0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2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5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6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34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6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1" fill="hold">
                          <p:stCondLst>
                            <p:cond delay="indefinite"/>
                          </p:stCondLst>
                          <p:childTnLst>
                            <p:par>
                              <p:cTn id="4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3" presetID="10" presetClass="entr" presetSubtype="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0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3194 -0.1321 L 0.03194 -0.13179 C 0.03055 -0.13827 0.03107 -0.13549 0.0302 -0.14074 L 0.02986 -0.14259 C 0.02968 -0.14321 0.02968 -0.14414 0.02951 -0.14444 C 0.02743 -0.15 0.02986 -0.14321 0.02847 -0.14815 C 0.02812 -0.14907 0.02795 -0.14938 0.02777 -0.15 C 0.0276 -0.15062 0.02743 -0.15154 0.02743 -0.15185 C 0.02708 -0.15278 0.02691 -0.15309 0.02673 -0.1537 C 0.02656 -0.15432 0.02656 -0.15525 0.02638 -0.15555 C 0.02604 -0.15617 0.02569 -0.15648 0.02534 -0.15679 C 0.02517 -0.15741 0.02517 -0.15833 0.025 -0.15864 C 0.02361 -0.16327 0.02378 -0.16235 0.02152 -0.16481 L 0.02048 -0.16605 C 0.02013 -0.16667 0.01979 -0.16728 0.01944 -0.16728 C 0.01701 -0.16883 0.01996 -0.16728 0.01666 -0.16852 C 0.01614 -0.16883 0.01597 -0.16914 0.01562 -0.16914 C 0.01441 -0.16914 0.01319 -0.16914 0.01215 -0.16852 C 0.01007 -0.1679 0.01059 -0.16728 0.00902 -0.16543 C 0.00868 -0.16512 0.00833 -0.16512 0.00798 -0.16481 C 0.00763 -0.1642 0.00746 -0.16358 0.00729 -0.16296 C 0.00694 -0.16265 0.00642 -0.16235 0.00625 -0.16173 C 0.0059 -0.16142 0.00607 -0.16049 0.0059 -0.15988 C 0.00486 -0.15679 0.00451 -0.15741 0.00416 -0.15432 C 0.00399 -0.15339 0.00382 -0.15185 0.00382 -0.15062 C 0.00382 -0.13549 0.00416 -0.12037 0.00416 -0.10494 C 0.00416 -0.09784 0.00399 -0.09074 0.00382 -0.08333 C 0.00364 -0.07901 0.00347 -0.0787 0.00312 -0.07531 C 0.00295 -0.07315 0.0026 -0.06759 0.00243 -0.06481 C 0.00225 -0.0642 0.00208 -0.06389 0.00208 -0.06296 L 0.00138 -0.05802 C 0.00121 -0.05679 0.00104 -0.05525 0.00104 -0.0537 C 0.00069 -0.05123 0.00069 -0.05185 0.00034 -0.04938 C 0.00017 -0.04876 4.44444E-6 -0.04784 4.44444E-6 -0.04691 C -0.00035 -0.04506 -0.00053 -0.0429 -0.0007 -0.04074 C -0.00087 -0.03951 -0.00105 -0.03827 -0.00105 -0.03704 C -0.00122 -0.03642 -0.00139 -0.03549 -0.00139 -0.03457 C -0.00174 -0.03179 -0.00191 -0.02901 -0.00209 -0.02593 C -0.00157 -0.00895 -0.00243 -0.02006 -0.00139 -0.01358 C -0.00139 -0.01296 -0.00139 -0.01204 -0.00105 -0.01111 C -0.00035 -0.00864 0.00104 -0.0071 0.00104 -0.0037 L 0.00104 -0.00309 L -0.00035 0.00062 " pathEditMode="relative" rAng="0" ptsTypes="AAAAAAAAAAAAAAAAAAAAAAAAAAAAAAAAAAAAAAAAAAA">
                                          <p:cBhvr>
                                            <p:cTn id="47" dur="2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701" y="478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8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50" dur="10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1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52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4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5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5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60" presetID="2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62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7" fill="hold">
                          <p:stCondLst>
                            <p:cond delay="indefinite"/>
                          </p:stCondLst>
                          <p:childTnLst>
                            <p:par>
                              <p:cTn id="6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9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4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75" fill="hold">
                          <p:stCondLst>
                            <p:cond delay="indefinite"/>
                          </p:stCondLst>
                          <p:childTnLst>
                            <p:par>
                              <p:cTn id="7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77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81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3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85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7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8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8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1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93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6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9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9" dur="5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0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01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3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4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105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7" dur="500"/>
                                            <p:tgtEl>
                                              <p:spTgt spid="5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8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10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1" dur="500"/>
                                            <p:tgtEl>
                                              <p:spTgt spid="54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15" grpId="0" animBg="1"/>
          <p:bldP spid="15" grpId="1" animBg="1"/>
          <p:bldP spid="23" grpId="0" animBg="1"/>
          <p:bldP spid="24" grpId="0" animBg="1"/>
          <p:bldP spid="25" grpId="0" animBg="1"/>
          <p:bldP spid="28" grpId="0"/>
          <p:bldP spid="29" grpId="0"/>
          <p:bldP spid="32" grpId="0" animBg="1"/>
          <p:bldP spid="32" grpId="1" animBg="1"/>
          <p:bldP spid="44" grpId="0"/>
          <p:bldP spid="45" grpId="0"/>
          <p:bldP spid="46" grpId="0"/>
          <p:bldP spid="47" grpId="0"/>
          <p:bldP spid="48" grpId="0"/>
          <p:bldP spid="50" grpId="0"/>
          <p:bldP spid="51" grpId="0"/>
          <p:bldP spid="52" grpId="0"/>
          <p:bldP spid="54" grpId="0" uiExpand="1" build="p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9C4E48C8-A477-4EEA-A0BA-AAF4125F9117}"/>
              </a:ext>
            </a:extLst>
          </p:cNvPr>
          <p:cNvSpPr/>
          <p:nvPr/>
        </p:nvSpPr>
        <p:spPr>
          <a:xfrm>
            <a:off x="60960" y="4615748"/>
            <a:ext cx="9083040" cy="4746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C23EF361-207E-421A-A3AB-6DBCF7E2E43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34645357"/>
              </p:ext>
            </p:extLst>
          </p:nvPr>
        </p:nvGraphicFramePr>
        <p:xfrm>
          <a:off x="0" y="3662308"/>
          <a:ext cx="9144000" cy="14520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4" name="CS ChemDraw Drawing" r:id="rId3" imgW="6013219" imgH="1118062" progId="ChemDraw.Document.6.0">
                  <p:embed/>
                </p:oleObj>
              </mc:Choice>
              <mc:Fallback>
                <p:oleObj name="CS ChemDraw Drawing" r:id="rId3" imgW="6013219" imgH="1118062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BF6C2764-A4A2-45F3-B80A-93D67969A0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3662308"/>
                        <a:ext cx="9144000" cy="14520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rrow: Chevron 8">
            <a:extLst>
              <a:ext uri="{FF2B5EF4-FFF2-40B4-BE49-F238E27FC236}">
                <a16:creationId xmlns:a16="http://schemas.microsoft.com/office/drawing/2014/main" id="{0729A545-D679-47E6-AD18-59AFE5A9BCFE}"/>
              </a:ext>
            </a:extLst>
          </p:cNvPr>
          <p:cNvSpPr/>
          <p:nvPr/>
        </p:nvSpPr>
        <p:spPr>
          <a:xfrm>
            <a:off x="525861" y="639133"/>
            <a:ext cx="8140655" cy="1403351"/>
          </a:xfrm>
          <a:prstGeom prst="chevron">
            <a:avLst>
              <a:gd name="adj" fmla="val 19597"/>
            </a:avLst>
          </a:prstGeom>
          <a:solidFill>
            <a:schemeClr val="tx1">
              <a:lumMod val="50000"/>
            </a:schemeClr>
          </a:solidFill>
          <a:ln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EF28D6-2C46-4833-9D96-FF7D4EAA4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06004"/>
            <a:ext cx="8099427" cy="618166"/>
          </a:xfrm>
        </p:spPr>
        <p:txBody>
          <a:bodyPr/>
          <a:lstStyle/>
          <a:p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XTBDFT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2940552-5A9C-48F6-976C-A7322BCB6328}"/>
              </a:ext>
            </a:extLst>
          </p:cNvPr>
          <p:cNvGrpSpPr/>
          <p:nvPr/>
        </p:nvGrpSpPr>
        <p:grpSpPr>
          <a:xfrm>
            <a:off x="609601" y="698083"/>
            <a:ext cx="8008537" cy="1291801"/>
            <a:chOff x="609601" y="698083"/>
            <a:chExt cx="8008537" cy="1291801"/>
          </a:xfrm>
        </p:grpSpPr>
        <p:sp>
          <p:nvSpPr>
            <p:cNvPr id="4" name="Arrow: Chevron 3">
              <a:extLst>
                <a:ext uri="{FF2B5EF4-FFF2-40B4-BE49-F238E27FC236}">
                  <a16:creationId xmlns:a16="http://schemas.microsoft.com/office/drawing/2014/main" id="{97A7CCFC-20BE-485F-B053-50DA08D21BC0}"/>
                </a:ext>
              </a:extLst>
            </p:cNvPr>
            <p:cNvSpPr/>
            <p:nvPr/>
          </p:nvSpPr>
          <p:spPr>
            <a:xfrm>
              <a:off x="609601" y="698084"/>
              <a:ext cx="2535736" cy="1291800"/>
            </a:xfrm>
            <a:prstGeom prst="chevron">
              <a:avLst>
                <a:gd name="adj" fmla="val 19597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conformer ensemble generation and ranking</a:t>
              </a:r>
            </a:p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(CREST and GFN-</a:t>
              </a:r>
              <a:r>
                <a:rPr lang="en-US" sz="1400" dirty="0" err="1">
                  <a:solidFill>
                    <a:schemeClr val="bg1"/>
                  </a:solidFill>
                </a:rPr>
                <a:t>xTB</a:t>
              </a:r>
              <a:r>
                <a:rPr lang="en-US" sz="1400" dirty="0">
                  <a:solidFill>
                    <a:schemeClr val="bg1"/>
                  </a:solidFill>
                </a:rPr>
                <a:t>) </a:t>
              </a:r>
            </a:p>
          </p:txBody>
        </p:sp>
        <p:sp>
          <p:nvSpPr>
            <p:cNvPr id="5" name="Arrow: Chevron 4">
              <a:extLst>
                <a:ext uri="{FF2B5EF4-FFF2-40B4-BE49-F238E27FC236}">
                  <a16:creationId xmlns:a16="http://schemas.microsoft.com/office/drawing/2014/main" id="{A1D3A555-FE71-4AF3-920D-CBFA78DAA4B0}"/>
                </a:ext>
              </a:extLst>
            </p:cNvPr>
            <p:cNvSpPr/>
            <p:nvPr/>
          </p:nvSpPr>
          <p:spPr>
            <a:xfrm>
              <a:off x="2952162" y="698083"/>
              <a:ext cx="2016646" cy="1291799"/>
            </a:xfrm>
            <a:prstGeom prst="chevron">
              <a:avLst>
                <a:gd name="adj" fmla="val 19597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ensemble refinement (NWChem)</a:t>
              </a:r>
            </a:p>
          </p:txBody>
        </p:sp>
        <p:sp>
          <p:nvSpPr>
            <p:cNvPr id="6" name="Arrow: Chevron 5">
              <a:extLst>
                <a:ext uri="{FF2B5EF4-FFF2-40B4-BE49-F238E27FC236}">
                  <a16:creationId xmlns:a16="http://schemas.microsoft.com/office/drawing/2014/main" id="{587BF51D-D118-4716-8F9A-770BD0CA8065}"/>
                </a:ext>
              </a:extLst>
            </p:cNvPr>
            <p:cNvSpPr/>
            <p:nvPr/>
          </p:nvSpPr>
          <p:spPr>
            <a:xfrm>
              <a:off x="4775632" y="698083"/>
              <a:ext cx="2016646" cy="1291799"/>
            </a:xfrm>
            <a:prstGeom prst="chevron">
              <a:avLst>
                <a:gd name="adj" fmla="val 19597"/>
              </a:avLst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minimum final optimization (NWChem)</a:t>
              </a:r>
            </a:p>
          </p:txBody>
        </p:sp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5D481CAA-AAD9-4B91-B278-D44FB4BB12A9}"/>
                </a:ext>
              </a:extLst>
            </p:cNvPr>
            <p:cNvSpPr/>
            <p:nvPr/>
          </p:nvSpPr>
          <p:spPr>
            <a:xfrm>
              <a:off x="6601492" y="698083"/>
              <a:ext cx="2016646" cy="1291799"/>
            </a:xfrm>
            <a:prstGeom prst="chevron">
              <a:avLst>
                <a:gd name="adj" fmla="val 19597"/>
              </a:avLst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quasi-harmonic frequency corrections</a:t>
              </a:r>
            </a:p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(Goodvibes)</a:t>
              </a:r>
            </a:p>
          </p:txBody>
        </p:sp>
      </p:grpSp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2B4FBA2B-B479-447B-9134-BEE3780100C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35728675"/>
              </p:ext>
            </p:extLst>
          </p:nvPr>
        </p:nvGraphicFramePr>
        <p:xfrm>
          <a:off x="367372" y="2771109"/>
          <a:ext cx="1065480" cy="11317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" name="CS ChemDraw Drawing" r:id="rId5" imgW="612167" imgH="650354" progId="ChemDraw.Document.6.0">
                  <p:embed/>
                </p:oleObj>
              </mc:Choice>
              <mc:Fallback>
                <p:oleObj name="CS ChemDraw Drawing" r:id="rId5" imgW="612167" imgH="650354" progId="ChemDraw.Document.6.0">
                  <p:embed/>
                  <p:pic>
                    <p:nvPicPr>
                      <p:cNvPr id="22" name="Object 21">
                        <a:extLst>
                          <a:ext uri="{FF2B5EF4-FFF2-40B4-BE49-F238E27FC236}">
                            <a16:creationId xmlns:a16="http://schemas.microsoft.com/office/drawing/2014/main" id="{EEDC9112-2E9E-463B-A130-CBDBE7241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67372" y="2771109"/>
                        <a:ext cx="1065480" cy="11317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Arrow: Right 15">
            <a:extLst>
              <a:ext uri="{FF2B5EF4-FFF2-40B4-BE49-F238E27FC236}">
                <a16:creationId xmlns:a16="http://schemas.microsoft.com/office/drawing/2014/main" id="{2595D64F-790C-4089-9D9C-0C9E5C13200D}"/>
              </a:ext>
            </a:extLst>
          </p:cNvPr>
          <p:cNvSpPr/>
          <p:nvPr/>
        </p:nvSpPr>
        <p:spPr>
          <a:xfrm rot="16200000">
            <a:off x="520032" y="2196133"/>
            <a:ext cx="673100" cy="387350"/>
          </a:xfrm>
          <a:prstGeom prst="rightArrow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0F9CE8C-A595-4BB3-9EF9-B86A9C542DCE}"/>
              </a:ext>
            </a:extLst>
          </p:cNvPr>
          <p:cNvSpPr txBox="1"/>
          <p:nvPr/>
        </p:nvSpPr>
        <p:spPr>
          <a:xfrm>
            <a:off x="983925" y="2262802"/>
            <a:ext cx="17107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1">
                    <a:lumMod val="50000"/>
                  </a:schemeClr>
                </a:solidFill>
              </a:rPr>
              <a:t>input geometry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DA84E69-07E3-4CAA-93F3-75B856CD7152}"/>
              </a:ext>
            </a:extLst>
          </p:cNvPr>
          <p:cNvGrpSpPr/>
          <p:nvPr/>
        </p:nvGrpSpPr>
        <p:grpSpPr>
          <a:xfrm>
            <a:off x="2818960" y="2042484"/>
            <a:ext cx="2062315" cy="607116"/>
            <a:chOff x="2818960" y="2042484"/>
            <a:chExt cx="2062315" cy="60711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0D26FB-F417-4D9D-ADF5-6AF051940958}"/>
                </a:ext>
              </a:extLst>
            </p:cNvPr>
            <p:cNvSpPr/>
            <p:nvPr/>
          </p:nvSpPr>
          <p:spPr>
            <a:xfrm>
              <a:off x="2952161" y="2042484"/>
              <a:ext cx="1795915" cy="60711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AEC523B-68B4-41BA-AF45-B709E64090B3}"/>
                </a:ext>
              </a:extLst>
            </p:cNvPr>
            <p:cNvSpPr/>
            <p:nvPr/>
          </p:nvSpPr>
          <p:spPr>
            <a:xfrm>
              <a:off x="2818960" y="2123618"/>
              <a:ext cx="206231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u="sng" dirty="0">
                  <a:solidFill>
                    <a:schemeClr val="tx1">
                      <a:lumMod val="50000"/>
                    </a:schemeClr>
                  </a:solidFill>
                </a:rPr>
                <a:t>62 conformers </a:t>
              </a:r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within </a:t>
              </a:r>
              <a:b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</a:br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6 kcal/mol window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EB7622D-62FE-4400-A23F-676839294C51}"/>
              </a:ext>
            </a:extLst>
          </p:cNvPr>
          <p:cNvSpPr/>
          <p:nvPr/>
        </p:nvSpPr>
        <p:spPr>
          <a:xfrm>
            <a:off x="6905973" y="4640666"/>
            <a:ext cx="230597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*calculated with B3LYP-D3/def2-TZVP//B3LYP-D3/def2-SVP and quasi-harmonic frequency corrections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29E0B6A-6666-4ACF-818D-5117FEC7EFFC}"/>
              </a:ext>
            </a:extLst>
          </p:cNvPr>
          <p:cNvSpPr/>
          <p:nvPr/>
        </p:nvSpPr>
        <p:spPr>
          <a:xfrm>
            <a:off x="681956" y="4500671"/>
            <a:ext cx="85725" cy="80883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1A0DDCD-6265-493D-9E62-A7F81065A647}"/>
              </a:ext>
            </a:extLst>
          </p:cNvPr>
          <p:cNvSpPr/>
          <p:nvPr/>
        </p:nvSpPr>
        <p:spPr>
          <a:xfrm>
            <a:off x="5584819" y="4999071"/>
            <a:ext cx="85725" cy="8088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4D70905-37E3-4C4B-B9B5-264FC9C00906}"/>
              </a:ext>
            </a:extLst>
          </p:cNvPr>
          <p:cNvGrpSpPr/>
          <p:nvPr/>
        </p:nvGrpSpPr>
        <p:grpSpPr>
          <a:xfrm>
            <a:off x="5235172" y="2076678"/>
            <a:ext cx="4188112" cy="1639438"/>
            <a:chOff x="5235172" y="2076678"/>
            <a:chExt cx="4188112" cy="163943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6F8C791-39C0-4771-BE98-7FF32918CD66}"/>
                </a:ext>
              </a:extLst>
            </p:cNvPr>
            <p:cNvSpPr txBox="1"/>
            <p:nvPr/>
          </p:nvSpPr>
          <p:spPr>
            <a:xfrm>
              <a:off x="7436215" y="2212460"/>
              <a:ext cx="198706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dirty="0">
                  <a:solidFill>
                    <a:schemeClr val="tx1">
                      <a:lumMod val="50000"/>
                    </a:schemeClr>
                  </a:solidFill>
                </a:rPr>
                <a:t>final structure and energy*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42F5619-02B1-40D2-B8CF-3BC1884441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35172" y="2149868"/>
              <a:ext cx="1611514" cy="1566248"/>
            </a:xfrm>
            <a:prstGeom prst="rect">
              <a:avLst/>
            </a:prstGeom>
          </p:spPr>
        </p:pic>
        <p:sp>
          <p:nvSpPr>
            <p:cNvPr id="33" name="Arrow: Bent-Up 32">
              <a:extLst>
                <a:ext uri="{FF2B5EF4-FFF2-40B4-BE49-F238E27FC236}">
                  <a16:creationId xmlns:a16="http://schemas.microsoft.com/office/drawing/2014/main" id="{4B9DE439-C719-4A5E-9123-71E37DD5B713}"/>
                </a:ext>
              </a:extLst>
            </p:cNvPr>
            <p:cNvSpPr/>
            <p:nvPr/>
          </p:nvSpPr>
          <p:spPr>
            <a:xfrm rot="16200000" flipH="1">
              <a:off x="6795405" y="2230392"/>
              <a:ext cx="1024339" cy="716911"/>
            </a:xfrm>
            <a:prstGeom prst="bentUpArrow">
              <a:avLst/>
            </a:prstGeom>
            <a:solidFill>
              <a:schemeClr val="tx1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F567F0B8-8828-4660-8349-A5899893B36D}"/>
              </a:ext>
            </a:extLst>
          </p:cNvPr>
          <p:cNvSpPr txBox="1"/>
          <p:nvPr/>
        </p:nvSpPr>
        <p:spPr>
          <a:xfrm>
            <a:off x="3689" y="4615748"/>
            <a:ext cx="15279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(PES is only illustrative)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9DF7E36E-BBE7-470E-8BB0-F576C2E90F02}"/>
              </a:ext>
            </a:extLst>
          </p:cNvPr>
          <p:cNvCxnSpPr>
            <a:cxnSpLocks/>
          </p:cNvCxnSpPr>
          <p:nvPr/>
        </p:nvCxnSpPr>
        <p:spPr>
          <a:xfrm flipH="1">
            <a:off x="5627681" y="3716116"/>
            <a:ext cx="88906" cy="1136958"/>
          </a:xfrm>
          <a:prstGeom prst="straightConnector1">
            <a:avLst/>
          </a:prstGeom>
          <a:ln w="12700" cmpd="sng">
            <a:solidFill>
              <a:schemeClr val="accent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8640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/>
      <p:bldP spid="31" grpId="0" animBg="1"/>
      <p:bldP spid="3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72076A-60DA-49FA-9FAA-54419EED3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Δ</a:t>
            </a:r>
            <a:r>
              <a:rPr lang="en-US" dirty="0"/>
              <a:t>G</a:t>
            </a:r>
            <a:r>
              <a:rPr lang="en-US" baseline="-25000" dirty="0"/>
              <a:t>PPN</a:t>
            </a:r>
            <a:r>
              <a:rPr lang="en-US" dirty="0"/>
              <a:t> vs known PNP/PPN ligand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286E258-97A8-4E0C-B727-BD70F215D7EC}"/>
              </a:ext>
            </a:extLst>
          </p:cNvPr>
          <p:cNvSpPr/>
          <p:nvPr/>
        </p:nvSpPr>
        <p:spPr>
          <a:xfrm>
            <a:off x="3070860" y="4846320"/>
            <a:ext cx="2767806" cy="244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C186BA16-2D2C-4CC6-8416-0774F8A06CE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76044967"/>
              </p:ext>
            </p:extLst>
          </p:nvPr>
        </p:nvGraphicFramePr>
        <p:xfrm>
          <a:off x="303053" y="843137"/>
          <a:ext cx="5535613" cy="32400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9" name="CS ChemDraw Drawing" r:id="rId3" imgW="5534891" imgH="3239885" progId="ChemDraw.Document.6.0">
                  <p:embed/>
                </p:oleObj>
              </mc:Choice>
              <mc:Fallback>
                <p:oleObj name="CS ChemDraw Drawing" r:id="rId3" imgW="5534891" imgH="3239885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3053" y="843137"/>
                        <a:ext cx="5535613" cy="32400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ct 16">
            <a:extLst>
              <a:ext uri="{FF2B5EF4-FFF2-40B4-BE49-F238E27FC236}">
                <a16:creationId xmlns:a16="http://schemas.microsoft.com/office/drawing/2014/main" id="{A1B0CB2D-B2E4-4B75-89BF-CD25964C116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9724461"/>
              </p:ext>
            </p:extLst>
          </p:nvPr>
        </p:nvGraphicFramePr>
        <p:xfrm>
          <a:off x="6128388" y="2485613"/>
          <a:ext cx="2755900" cy="1522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0" name="CS ChemDraw Drawing" r:id="rId5" imgW="2756362" imgH="1521922" progId="ChemDraw.Document.6.0">
                  <p:embed/>
                </p:oleObj>
              </mc:Choice>
              <mc:Fallback>
                <p:oleObj name="CS ChemDraw Drawing" r:id="rId5" imgW="2756362" imgH="1521922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28388" y="2485613"/>
                        <a:ext cx="2755900" cy="15224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30B56A18-23BB-4595-B4D3-78829C63FE30}"/>
              </a:ext>
            </a:extLst>
          </p:cNvPr>
          <p:cNvGrpSpPr/>
          <p:nvPr/>
        </p:nvGrpSpPr>
        <p:grpSpPr>
          <a:xfrm>
            <a:off x="4642168" y="224971"/>
            <a:ext cx="1780032" cy="400110"/>
            <a:chOff x="5175568" y="-344567"/>
            <a:chExt cx="1780032" cy="400110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3A1D765-A160-4F39-BF5D-3BDF69FBAC43}"/>
                </a:ext>
              </a:extLst>
            </p:cNvPr>
            <p:cNvSpPr/>
            <p:nvPr/>
          </p:nvSpPr>
          <p:spPr>
            <a:xfrm>
              <a:off x="5175568" y="-131534"/>
              <a:ext cx="161925" cy="161925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EAE9E46D-72EE-4292-915C-FF8CFB5F763A}"/>
                </a:ext>
              </a:extLst>
            </p:cNvPr>
            <p:cNvSpPr/>
            <p:nvPr/>
          </p:nvSpPr>
          <p:spPr>
            <a:xfrm>
              <a:off x="5178743" y="-326440"/>
              <a:ext cx="161925" cy="161925"/>
            </a:xfrm>
            <a:prstGeom prst="roundRect">
              <a:avLst/>
            </a:prstGeom>
            <a:solidFill>
              <a:schemeClr val="tx1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C8F9AC1-7602-4E9E-907D-F7DEE11014DA}"/>
                </a:ext>
              </a:extLst>
            </p:cNvPr>
            <p:cNvSpPr txBox="1"/>
            <p:nvPr/>
          </p:nvSpPr>
          <p:spPr>
            <a:xfrm>
              <a:off x="5347467" y="-344567"/>
              <a:ext cx="160813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dirty="0">
                  <a:solidFill>
                    <a:schemeClr val="tx1">
                      <a:lumMod val="50000"/>
                    </a:schemeClr>
                  </a:solidFill>
                </a:rPr>
                <a:t>Δ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</a:rPr>
                <a:t>G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</a:rPr>
                <a:t>PPN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</a:rPr>
                <a:t> &gt; 0 (PNP favored)</a:t>
              </a:r>
            </a:p>
            <a:p>
              <a:r>
                <a:rPr lang="el-GR" dirty="0">
                  <a:solidFill>
                    <a:schemeClr val="tx1">
                      <a:lumMod val="50000"/>
                    </a:schemeClr>
                  </a:solidFill>
                </a:rPr>
                <a:t>Δ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</a:rPr>
                <a:t>G</a:t>
              </a:r>
              <a:r>
                <a:rPr lang="en-US" baseline="-25000" dirty="0">
                  <a:solidFill>
                    <a:schemeClr val="tx1">
                      <a:lumMod val="50000"/>
                    </a:schemeClr>
                  </a:solidFill>
                </a:rPr>
                <a:t>PPN</a:t>
              </a:r>
              <a:r>
                <a:rPr lang="en-US" dirty="0">
                  <a:solidFill>
                    <a:schemeClr val="tx1">
                      <a:lumMod val="50000"/>
                    </a:schemeClr>
                  </a:solidFill>
                </a:rPr>
                <a:t> &lt; 0 (PPN favored)</a:t>
              </a:r>
            </a:p>
          </p:txBody>
        </p:sp>
      </p:grpSp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913DF016-7DED-40EF-A1C2-92C76D82F00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7808032"/>
              </p:ext>
            </p:extLst>
          </p:nvPr>
        </p:nvGraphicFramePr>
        <p:xfrm>
          <a:off x="5932991" y="843137"/>
          <a:ext cx="3140075" cy="1601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1" name="CS ChemDraw Drawing" r:id="rId7" imgW="3140479" imgH="1601585" progId="ChemDraw.Document.6.0">
                  <p:embed/>
                </p:oleObj>
              </mc:Choice>
              <mc:Fallback>
                <p:oleObj name="CS ChemDraw Drawing" r:id="rId7" imgW="3140479" imgH="1601585" progId="ChemDraw.Document.6.0">
                  <p:embed/>
                  <p:pic>
                    <p:nvPicPr>
                      <p:cNvPr id="15" name="Object 14">
                        <a:extLst>
                          <a:ext uri="{FF2B5EF4-FFF2-40B4-BE49-F238E27FC236}">
                            <a16:creationId xmlns:a16="http://schemas.microsoft.com/office/drawing/2014/main" id="{F4213D42-8609-467F-8E6C-AAA79574C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932991" y="843137"/>
                        <a:ext cx="3140075" cy="1601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1EAA85D8-C04F-4187-BB86-3D042BCF48A2}"/>
              </a:ext>
            </a:extLst>
          </p:cNvPr>
          <p:cNvSpPr txBox="1"/>
          <p:nvPr/>
        </p:nvSpPr>
        <p:spPr>
          <a:xfrm>
            <a:off x="1" y="424250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If |</a:t>
            </a:r>
            <a:r>
              <a:rPr lang="el-GR" sz="1800" dirty="0"/>
              <a:t>Δ</a:t>
            </a:r>
            <a:r>
              <a:rPr lang="en-US" sz="1800" dirty="0"/>
              <a:t>G</a:t>
            </a:r>
            <a:r>
              <a:rPr lang="en-US" sz="1800" baseline="-25000" dirty="0"/>
              <a:t>PPN</a:t>
            </a:r>
            <a:r>
              <a:rPr lang="en-US" sz="1800" dirty="0"/>
              <a:t>| &gt; 0.9 kcal/mol, prediction matches observations for 30+ known PNP/PPN</a:t>
            </a:r>
          </a:p>
        </p:txBody>
      </p:sp>
    </p:spTree>
    <p:extLst>
      <p:ext uri="{BB962C8B-B14F-4D97-AF65-F5344CB8AC3E}">
        <p14:creationId xmlns:p14="http://schemas.microsoft.com/office/powerpoint/2010/main" val="1055092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>
            <a:extLst>
              <a:ext uri="{FF2B5EF4-FFF2-40B4-BE49-F238E27FC236}">
                <a16:creationId xmlns:a16="http://schemas.microsoft.com/office/drawing/2014/main" id="{45CD3E8D-A153-4811-8D36-42D2DAF91FF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623"/>
          <a:stretch/>
        </p:blipFill>
        <p:spPr>
          <a:xfrm>
            <a:off x="3797585" y="1208910"/>
            <a:ext cx="3054365" cy="2825741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890A5FEE-09BB-4157-8EBF-B6E10F981C2B}"/>
              </a:ext>
            </a:extLst>
          </p:cNvPr>
          <p:cNvSpPr/>
          <p:nvPr/>
        </p:nvSpPr>
        <p:spPr>
          <a:xfrm>
            <a:off x="3070860" y="4846320"/>
            <a:ext cx="2767806" cy="244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B197797-7E11-4520-A554-FCC10D64FE22}"/>
              </a:ext>
            </a:extLst>
          </p:cNvPr>
          <p:cNvGrpSpPr/>
          <p:nvPr/>
        </p:nvGrpSpPr>
        <p:grpSpPr>
          <a:xfrm>
            <a:off x="3795304" y="1204444"/>
            <a:ext cx="3067666" cy="2825741"/>
            <a:chOff x="5073105" y="1631325"/>
            <a:chExt cx="4090221" cy="3767655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D06B7232-0F82-42A4-8EE1-CE7CFA06CC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32404"/>
            <a:stretch/>
          </p:blipFill>
          <p:spPr>
            <a:xfrm>
              <a:off x="5073105" y="1631325"/>
              <a:ext cx="2827001" cy="3767655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874A806D-886A-471A-B402-7C5DE4C47D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71829" r="2199"/>
            <a:stretch/>
          </p:blipFill>
          <p:spPr>
            <a:xfrm>
              <a:off x="5073105" y="4337583"/>
              <a:ext cx="4090221" cy="1061397"/>
            </a:xfrm>
            <a:prstGeom prst="rect">
              <a:avLst/>
            </a:prstGeom>
          </p:spPr>
        </p:pic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Ligand </a:t>
            </a:r>
            <a:r>
              <a:rPr lang="en-US" u="sng" dirty="0"/>
              <a:t>Stability </a:t>
            </a:r>
            <a:r>
              <a:rPr lang="en-US" dirty="0"/>
              <a:t>Correlates with Lower PE </a:t>
            </a:r>
            <a:r>
              <a:rPr lang="en-US" dirty="0" err="1"/>
              <a:t>wt</a:t>
            </a:r>
            <a:r>
              <a:rPr lang="en-US" dirty="0"/>
              <a:t>%</a:t>
            </a:r>
          </a:p>
        </p:txBody>
      </p:sp>
      <p:graphicFrame>
        <p:nvGraphicFramePr>
          <p:cNvPr id="25" name="Object 24">
            <a:extLst>
              <a:ext uri="{FF2B5EF4-FFF2-40B4-BE49-F238E27FC236}">
                <a16:creationId xmlns:a16="http://schemas.microsoft.com/office/drawing/2014/main" id="{F31E119A-F451-4586-A8AE-E4561BA54DA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62305" y="1839337"/>
          <a:ext cx="3390694" cy="9833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2" name="CS ChemDraw Drawing" r:id="rId9" imgW="1811828" imgH="524048" progId="ChemDraw.Document.6.0">
                  <p:embed/>
                </p:oleObj>
              </mc:Choice>
              <mc:Fallback>
                <p:oleObj name="CS ChemDraw Drawing" r:id="rId9" imgW="1811828" imgH="524048" progId="ChemDraw.Document.6.0">
                  <p:embed/>
                  <p:pic>
                    <p:nvPicPr>
                      <p:cNvPr id="25" name="Object 24">
                        <a:extLst>
                          <a:ext uri="{FF2B5EF4-FFF2-40B4-BE49-F238E27FC236}">
                            <a16:creationId xmlns:a16="http://schemas.microsoft.com/office/drawing/2014/main" id="{F31E119A-F451-4586-A8AE-E4561BA54D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62305" y="1839337"/>
                        <a:ext cx="3390694" cy="9833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25">
            <a:extLst>
              <a:ext uri="{FF2B5EF4-FFF2-40B4-BE49-F238E27FC236}">
                <a16:creationId xmlns:a16="http://schemas.microsoft.com/office/drawing/2014/main" id="{A396436D-6A9A-4E32-BC34-C1149B9C2C4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8546" y="2840456"/>
          <a:ext cx="1613471" cy="15539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3" name="CS ChemDraw Drawing" r:id="rId11" imgW="1002730" imgH="968848" progId="ChemDraw.Document.6.0">
                  <p:embed/>
                </p:oleObj>
              </mc:Choice>
              <mc:Fallback>
                <p:oleObj name="CS ChemDraw Drawing" r:id="rId11" imgW="1002730" imgH="968848" progId="ChemDraw.Document.6.0">
                  <p:embed/>
                  <p:pic>
                    <p:nvPicPr>
                      <p:cNvPr id="26" name="Object 25">
                        <a:extLst>
                          <a:ext uri="{FF2B5EF4-FFF2-40B4-BE49-F238E27FC236}">
                            <a16:creationId xmlns:a16="http://schemas.microsoft.com/office/drawing/2014/main" id="{A396436D-6A9A-4E32-BC34-C1149B9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>
                        <a:alphaModFix amt="90000"/>
                      </a:blip>
                      <a:stretch>
                        <a:fillRect/>
                      </a:stretch>
                    </p:blipFill>
                    <p:spPr>
                      <a:xfrm>
                        <a:off x="218546" y="2840456"/>
                        <a:ext cx="1613471" cy="155392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0279B74F-04D6-47C4-B6B4-3EAD0867D0EA}"/>
              </a:ext>
            </a:extLst>
          </p:cNvPr>
          <p:cNvSpPr/>
          <p:nvPr/>
        </p:nvSpPr>
        <p:spPr>
          <a:xfrm>
            <a:off x="1709003" y="4680915"/>
            <a:ext cx="532997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dirty="0"/>
              <a:t>Lin, S.; Fromer, J. C.; Ghosh, Y.; Hanna, B.; Elanany, M.; Xu, W. </a:t>
            </a:r>
            <a:r>
              <a:rPr lang="en-US" sz="900" i="1" dirty="0"/>
              <a:t>Sci. Rep.</a:t>
            </a:r>
            <a:r>
              <a:rPr lang="en-US" sz="900" dirty="0"/>
              <a:t> </a:t>
            </a:r>
            <a:r>
              <a:rPr lang="en-US" sz="900" b="1" dirty="0"/>
              <a:t>2021</a:t>
            </a:r>
            <a:r>
              <a:rPr lang="en-US" sz="900" dirty="0"/>
              <a:t>, </a:t>
            </a:r>
            <a:r>
              <a:rPr lang="en-US" sz="900" i="1" dirty="0"/>
              <a:t>11</a:t>
            </a:r>
            <a:r>
              <a:rPr lang="en-US" sz="900" dirty="0"/>
              <a:t>, 4534.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13832F43-E459-44F4-8914-1D049A0A058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58805" y="779306"/>
          <a:ext cx="2412616" cy="77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4" name="CS ChemDraw Drawing" r:id="rId13" imgW="2474478" imgH="793658" progId="ChemDraw.Document.6.0">
                  <p:embed/>
                </p:oleObj>
              </mc:Choice>
              <mc:Fallback>
                <p:oleObj name="CS ChemDraw Drawing" r:id="rId13" imgW="2474478" imgH="793658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13832F43-E459-44F4-8914-1D049A0A0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758805" y="779306"/>
                        <a:ext cx="2412616" cy="77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B54AB2A0-376B-49EE-99C2-EB4FDE5569C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686187" y="2793432"/>
          <a:ext cx="940594" cy="8322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5" name="CS ChemDraw Drawing" r:id="rId15" imgW="556104" imgH="495023" progId="ChemDraw.Document.6.0">
                  <p:embed/>
                </p:oleObj>
              </mc:Choice>
              <mc:Fallback>
                <p:oleObj name="CS ChemDraw Drawing" r:id="rId15" imgW="556104" imgH="495023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B54AB2A0-376B-49EE-99C2-EB4FDE556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>
                        <a:alphaModFix amt="90000"/>
                      </a:blip>
                      <a:stretch>
                        <a:fillRect/>
                      </a:stretch>
                    </p:blipFill>
                    <p:spPr>
                      <a:xfrm>
                        <a:off x="2686187" y="2793432"/>
                        <a:ext cx="940594" cy="8322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585EFD75-74F7-48A7-9F40-CA4EE6A4CE08}"/>
              </a:ext>
            </a:extLst>
          </p:cNvPr>
          <p:cNvSpPr/>
          <p:nvPr/>
        </p:nvSpPr>
        <p:spPr>
          <a:xfrm rot="2309902">
            <a:off x="4301502" y="1606182"/>
            <a:ext cx="1840960" cy="836138"/>
          </a:xfrm>
          <a:prstGeom prst="ellipse">
            <a:avLst/>
          </a:prstGeom>
          <a:noFill/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54F9037-5FCD-4AC2-A39A-DC245148E368}"/>
              </a:ext>
            </a:extLst>
          </p:cNvPr>
          <p:cNvSpPr/>
          <p:nvPr/>
        </p:nvSpPr>
        <p:spPr>
          <a:xfrm>
            <a:off x="123295" y="1762125"/>
            <a:ext cx="3705478" cy="2825853"/>
          </a:xfrm>
          <a:prstGeom prst="roundRect">
            <a:avLst/>
          </a:prstGeom>
          <a:noFill/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48C7A79F-1AA3-4463-9813-5DC6A91F541F}"/>
              </a:ext>
            </a:extLst>
          </p:cNvPr>
          <p:cNvGrpSpPr/>
          <p:nvPr/>
        </p:nvGrpSpPr>
        <p:grpSpPr>
          <a:xfrm>
            <a:off x="514351" y="1451259"/>
            <a:ext cx="5428022" cy="2968955"/>
            <a:chOff x="685801" y="1935012"/>
            <a:chExt cx="7237363" cy="3958606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F1BBA69-9D7F-41B5-9183-A41190C5BBDC}"/>
                </a:ext>
              </a:extLst>
            </p:cNvPr>
            <p:cNvCxnSpPr>
              <a:cxnSpLocks/>
              <a:stCxn id="9" idx="2"/>
            </p:cNvCxnSpPr>
            <p:nvPr/>
          </p:nvCxnSpPr>
          <p:spPr>
            <a:xfrm flipH="1">
              <a:off x="685801" y="1935012"/>
              <a:ext cx="5316320" cy="414488"/>
            </a:xfrm>
            <a:prstGeom prst="line">
              <a:avLst/>
            </a:prstGeom>
            <a:ln w="12700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B48A5EEE-CACA-4464-88A5-33C0EB2AF911}"/>
                </a:ext>
              </a:extLst>
            </p:cNvPr>
            <p:cNvCxnSpPr>
              <a:cxnSpLocks/>
              <a:stCxn id="9" idx="6"/>
            </p:cNvCxnSpPr>
            <p:nvPr/>
          </p:nvCxnSpPr>
          <p:spPr>
            <a:xfrm flipH="1">
              <a:off x="4951876" y="3462990"/>
              <a:ext cx="2971288" cy="2430628"/>
            </a:xfrm>
            <a:prstGeom prst="line">
              <a:avLst/>
            </a:prstGeom>
            <a:ln w="12700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Oval 57">
            <a:extLst>
              <a:ext uri="{FF2B5EF4-FFF2-40B4-BE49-F238E27FC236}">
                <a16:creationId xmlns:a16="http://schemas.microsoft.com/office/drawing/2014/main" id="{3E6B5DC7-A32D-49C2-B369-A27A4D6EB8F4}"/>
              </a:ext>
            </a:extLst>
          </p:cNvPr>
          <p:cNvSpPr/>
          <p:nvPr/>
        </p:nvSpPr>
        <p:spPr>
          <a:xfrm rot="2309902">
            <a:off x="5856333" y="2701478"/>
            <a:ext cx="926807" cy="352717"/>
          </a:xfrm>
          <a:prstGeom prst="ellipse">
            <a:avLst/>
          </a:prstGeom>
          <a:noFill/>
          <a:ln w="9525">
            <a:solidFill>
              <a:schemeClr val="accent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0348139-AC6E-4F29-9720-B1A3C929A515}"/>
              </a:ext>
            </a:extLst>
          </p:cNvPr>
          <p:cNvSpPr/>
          <p:nvPr/>
        </p:nvSpPr>
        <p:spPr>
          <a:xfrm>
            <a:off x="6838347" y="3189549"/>
            <a:ext cx="2087107" cy="468445"/>
          </a:xfrm>
          <a:prstGeom prst="round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CC1221B-C58A-4CB2-A88C-7BE16988C0C9}"/>
              </a:ext>
            </a:extLst>
          </p:cNvPr>
          <p:cNvGrpSpPr/>
          <p:nvPr/>
        </p:nvGrpSpPr>
        <p:grpSpPr>
          <a:xfrm>
            <a:off x="6140918" y="2576263"/>
            <a:ext cx="2687105" cy="1068075"/>
            <a:chOff x="8187889" y="3435014"/>
            <a:chExt cx="3582804" cy="1424099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40F5ACA-8660-4693-A689-EC93DD590726}"/>
                </a:ext>
              </a:extLst>
            </p:cNvPr>
            <p:cNvCxnSpPr>
              <a:cxnSpLocks/>
              <a:stCxn id="58" idx="1"/>
            </p:cNvCxnSpPr>
            <p:nvPr/>
          </p:nvCxnSpPr>
          <p:spPr>
            <a:xfrm>
              <a:off x="8187889" y="3435014"/>
              <a:ext cx="3582804" cy="817718"/>
            </a:xfrm>
            <a:prstGeom prst="line">
              <a:avLst/>
            </a:prstGeom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30BE2690-BD39-4E7E-BE82-1C4DB208ABF9}"/>
                </a:ext>
              </a:extLst>
            </p:cNvPr>
            <p:cNvCxnSpPr>
              <a:cxnSpLocks/>
              <a:stCxn id="58" idx="4"/>
            </p:cNvCxnSpPr>
            <p:nvPr/>
          </p:nvCxnSpPr>
          <p:spPr>
            <a:xfrm>
              <a:off x="8279939" y="4021142"/>
              <a:ext cx="859034" cy="837971"/>
            </a:xfrm>
            <a:prstGeom prst="line">
              <a:avLst/>
            </a:prstGeom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F3F11327-AD8A-405A-AD21-4DD3937322D7}"/>
              </a:ext>
            </a:extLst>
          </p:cNvPr>
          <p:cNvSpPr/>
          <p:nvPr/>
        </p:nvSpPr>
        <p:spPr>
          <a:xfrm>
            <a:off x="6760072" y="3182674"/>
            <a:ext cx="22423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extra-stable ligands being tested and synthesized now</a:t>
            </a:r>
          </a:p>
        </p:txBody>
      </p:sp>
      <p:graphicFrame>
        <p:nvGraphicFramePr>
          <p:cNvPr id="76" name="Object 75">
            <a:extLst>
              <a:ext uri="{FF2B5EF4-FFF2-40B4-BE49-F238E27FC236}">
                <a16:creationId xmlns:a16="http://schemas.microsoft.com/office/drawing/2014/main" id="{9E45AC74-AB8D-40C9-BA1F-575BB298D8E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6" name="CS ChemDraw Drawing" r:id="rId17" imgW="1052493" imgH="1037428" progId="ChemDraw.Document.6.0">
                  <p:embed/>
                </p:oleObj>
              </mc:Choice>
              <mc:Fallback>
                <p:oleObj name="CS ChemDraw Drawing" r:id="rId17" imgW="1052493" imgH="1037428" progId="ChemDraw.Document.6.0">
                  <p:embed/>
                  <p:pic>
                    <p:nvPicPr>
                      <p:cNvPr id="76" name="Object 75">
                        <a:extLst>
                          <a:ext uri="{FF2B5EF4-FFF2-40B4-BE49-F238E27FC236}">
                            <a16:creationId xmlns:a16="http://schemas.microsoft.com/office/drawing/2014/main" id="{9E45AC74-AB8D-40C9-BA1F-575BB298D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905262C2-F7DF-4645-BE9F-44A9144F2490}"/>
              </a:ext>
            </a:extLst>
          </p:cNvPr>
          <p:cNvSpPr txBox="1"/>
          <p:nvPr/>
        </p:nvSpPr>
        <p:spPr>
          <a:xfrm rot="2330611">
            <a:off x="5653343" y="2900964"/>
            <a:ext cx="80342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2"/>
                </a:solidFill>
              </a:rPr>
              <a:t>projected </a:t>
            </a:r>
          </a:p>
          <a:p>
            <a:pPr algn="ctr"/>
            <a:r>
              <a:rPr lang="en-US" sz="1100" dirty="0">
                <a:solidFill>
                  <a:schemeClr val="accent2"/>
                </a:solidFill>
              </a:rPr>
              <a:t>activities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3BAEF23-2415-463B-ABCC-AF71AC921EA3}"/>
              </a:ext>
            </a:extLst>
          </p:cNvPr>
          <p:cNvGrpSpPr/>
          <p:nvPr/>
        </p:nvGrpSpPr>
        <p:grpSpPr>
          <a:xfrm>
            <a:off x="4359886" y="705530"/>
            <a:ext cx="4391449" cy="1561829"/>
            <a:chOff x="4359886" y="705530"/>
            <a:chExt cx="4391449" cy="1561829"/>
          </a:xfrm>
        </p:grpSpPr>
        <p:graphicFrame>
          <p:nvGraphicFramePr>
            <p:cNvPr id="56" name="Object 55">
              <a:extLst>
                <a:ext uri="{FF2B5EF4-FFF2-40B4-BE49-F238E27FC236}">
                  <a16:creationId xmlns:a16="http://schemas.microsoft.com/office/drawing/2014/main" id="{AFB1B626-3E38-4EED-9BF1-F45B6CE7423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386489623"/>
                </p:ext>
              </p:extLst>
            </p:nvPr>
          </p:nvGraphicFramePr>
          <p:xfrm>
            <a:off x="6134955" y="728405"/>
            <a:ext cx="2616380" cy="111866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2067" name="CS ChemDraw Drawing" r:id="rId19" imgW="5833456" imgH="2494165" progId="ChemDraw.Document.6.0">
                    <p:embed/>
                  </p:oleObj>
                </mc:Choice>
                <mc:Fallback>
                  <p:oleObj name="CS ChemDraw Drawing" r:id="rId19" imgW="5833456" imgH="2494165" progId="ChemDraw.Document.6.0">
                    <p:embed/>
                    <p:pic>
                      <p:nvPicPr>
                        <p:cNvPr id="40" name="Object 39">
                          <a:extLst>
                            <a:ext uri="{FF2B5EF4-FFF2-40B4-BE49-F238E27FC236}">
                              <a16:creationId xmlns:a16="http://schemas.microsoft.com/office/drawing/2014/main" id="{32511F28-49A4-47F8-BF7E-048C30509D8E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20"/>
                        <a:stretch>
                          <a:fillRect/>
                        </a:stretch>
                      </p:blipFill>
                      <p:spPr>
                        <a:xfrm>
                          <a:off x="6134955" y="728405"/>
                          <a:ext cx="2616380" cy="111866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E50B9971-8FC8-44E1-BB81-4E192984D219}"/>
                </a:ext>
              </a:extLst>
            </p:cNvPr>
            <p:cNvSpPr/>
            <p:nvPr/>
          </p:nvSpPr>
          <p:spPr>
            <a:xfrm>
              <a:off x="6040740" y="705530"/>
              <a:ext cx="2710595" cy="1560634"/>
            </a:xfrm>
            <a:prstGeom prst="roundRect">
              <a:avLst/>
            </a:prstGeom>
            <a:noFill/>
            <a:ln w="9525">
              <a:solidFill>
                <a:srgbClr val="E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655F0EF5-6339-47FD-AFEF-8E3FBE8B2A62}"/>
                </a:ext>
              </a:extLst>
            </p:cNvPr>
            <p:cNvGrpSpPr/>
            <p:nvPr/>
          </p:nvGrpSpPr>
          <p:grpSpPr>
            <a:xfrm>
              <a:off x="4373989" y="712138"/>
              <a:ext cx="1861844" cy="1526726"/>
              <a:chOff x="5535771" y="1305862"/>
              <a:chExt cx="2482458" cy="2035634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96BC0B25-1A46-4627-97B5-7A21155A638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535771" y="2928560"/>
                <a:ext cx="2430270" cy="412936"/>
              </a:xfrm>
              <a:prstGeom prst="line">
                <a:avLst/>
              </a:prstGeom>
              <a:ln w="12700" cmpd="sng">
                <a:solidFill>
                  <a:srgbClr val="E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606D6C6E-B5C5-45BC-A163-121368ADA38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535771" y="1305862"/>
                <a:ext cx="2482458" cy="773505"/>
              </a:xfrm>
              <a:prstGeom prst="line">
                <a:avLst/>
              </a:prstGeom>
              <a:ln w="12700" cmpd="sng">
                <a:solidFill>
                  <a:srgbClr val="E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235F732-91EE-4B4C-9E3A-6851ABE894E9}"/>
                </a:ext>
              </a:extLst>
            </p:cNvPr>
            <p:cNvSpPr/>
            <p:nvPr/>
          </p:nvSpPr>
          <p:spPr>
            <a:xfrm>
              <a:off x="6196692" y="1805694"/>
              <a:ext cx="239868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FF0000"/>
                  </a:solidFill>
                </a:rPr>
                <a:t>unstable ligand candidates screened ou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91161DB-D1E9-4DB8-99E4-BDD2B5B3B741}"/>
                </a:ext>
              </a:extLst>
            </p:cNvPr>
            <p:cNvSpPr/>
            <p:nvPr/>
          </p:nvSpPr>
          <p:spPr>
            <a:xfrm>
              <a:off x="4359886" y="1296734"/>
              <a:ext cx="632601" cy="632428"/>
            </a:xfrm>
            <a:prstGeom prst="rect">
              <a:avLst/>
            </a:prstGeom>
            <a:solidFill>
              <a:srgbClr val="E00000">
                <a:alpha val="49020"/>
              </a:srgbClr>
            </a:solidFill>
            <a:ln>
              <a:solidFill>
                <a:srgbClr val="C00000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7F72188-AD0A-416C-BAE4-EE14E3953CB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793323" y="1644456"/>
            <a:ext cx="760553" cy="179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309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500"/>
                            </p:stCondLst>
                            <p:childTnLst>
                              <p:par>
                                <p:cTn id="5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0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58" grpId="0" animBg="1"/>
      <p:bldP spid="59" grpId="0" animBg="1"/>
      <p:bldP spid="74" grpId="0"/>
      <p:bldP spid="7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8EFFC9-8BE3-4A21-8964-F4D9EF0D7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criteria to maximize PNP stability (and lower PE fouling)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2A04A333-04A7-4487-A53A-76A1B9F3353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65409200"/>
              </p:ext>
            </p:extLst>
          </p:nvPr>
        </p:nvGraphicFramePr>
        <p:xfrm>
          <a:off x="95819" y="1160929"/>
          <a:ext cx="1019175" cy="1255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4" name="CS ChemDraw Drawing" r:id="rId4" imgW="664325" imgH="816379" progId="ChemDraw.Document.6.0">
                  <p:embed/>
                </p:oleObj>
              </mc:Choice>
              <mc:Fallback>
                <p:oleObj name="CS ChemDraw Drawing" r:id="rId4" imgW="664325" imgH="816379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5819" y="1160929"/>
                        <a:ext cx="1019175" cy="12557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F6F81036-3B1F-4C7B-B9DB-4295A22025EA}"/>
              </a:ext>
            </a:extLst>
          </p:cNvPr>
          <p:cNvSpPr/>
          <p:nvPr/>
        </p:nvSpPr>
        <p:spPr>
          <a:xfrm>
            <a:off x="5075774" y="686681"/>
            <a:ext cx="26053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1600" u="sng" dirty="0"/>
              <a:t>N-alkyl over N-ary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2E289D-3F98-4017-8A77-898DE2071148}"/>
              </a:ext>
            </a:extLst>
          </p:cNvPr>
          <p:cNvSpPr/>
          <p:nvPr/>
        </p:nvSpPr>
        <p:spPr>
          <a:xfrm>
            <a:off x="605407" y="695474"/>
            <a:ext cx="27045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u="sng" dirty="0"/>
              <a:t>electron-rich N-substitu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A36258-16AE-4040-A598-6F7121F91165}"/>
              </a:ext>
            </a:extLst>
          </p:cNvPr>
          <p:cNvSpPr/>
          <p:nvPr/>
        </p:nvSpPr>
        <p:spPr>
          <a:xfrm>
            <a:off x="476648" y="2658173"/>
            <a:ext cx="31727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1600" u="sng" dirty="0"/>
              <a:t>N-alkyl: 2˚ &gt; 1˚ &gt;&gt; 3˚</a:t>
            </a:r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7951893F-9328-41E9-A890-AA5647ED79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6779863"/>
              </p:ext>
            </p:extLst>
          </p:nvPr>
        </p:nvGraphicFramePr>
        <p:xfrm>
          <a:off x="4597400" y="1043678"/>
          <a:ext cx="4538663" cy="981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5" name="CS ChemDraw Drawing" r:id="rId6" imgW="2953096" imgH="638348" progId="ChemDraw.Document.6.0">
                  <p:embed/>
                </p:oleObj>
              </mc:Choice>
              <mc:Fallback>
                <p:oleObj name="CS ChemDraw Drawing" r:id="rId6" imgW="2953096" imgH="63834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97400" y="1043678"/>
                        <a:ext cx="4538663" cy="981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354738A-2DAC-4B63-ACF6-0261B52CAFA4}"/>
              </a:ext>
            </a:extLst>
          </p:cNvPr>
          <p:cNvSpPr/>
          <p:nvPr/>
        </p:nvSpPr>
        <p:spPr>
          <a:xfrm>
            <a:off x="5314594" y="2598537"/>
            <a:ext cx="28312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u="sng" dirty="0"/>
              <a:t>electron-poor P-substituents </a:t>
            </a: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55F579F6-7A76-47C5-B8A7-5CF9BDA194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88642854"/>
              </p:ext>
            </p:extLst>
          </p:nvPr>
        </p:nvGraphicFramePr>
        <p:xfrm>
          <a:off x="4398824" y="3078591"/>
          <a:ext cx="2208213" cy="1477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6" name="CS ChemDraw Drawing" r:id="rId8" imgW="1436716" imgH="964276" progId="ChemDraw.Document.6.0">
                  <p:embed/>
                </p:oleObj>
              </mc:Choice>
              <mc:Fallback>
                <p:oleObj name="CS ChemDraw Drawing" r:id="rId8" imgW="1436716" imgH="964276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398824" y="3078591"/>
                        <a:ext cx="2208213" cy="1477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D21F3F07-1C3F-4A38-96CA-257806541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8998028"/>
              </p:ext>
            </p:extLst>
          </p:nvPr>
        </p:nvGraphicFramePr>
        <p:xfrm>
          <a:off x="6730206" y="3030076"/>
          <a:ext cx="209354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6772">
                  <a:extLst>
                    <a:ext uri="{9D8B030D-6E8A-4147-A177-3AD203B41FA5}">
                      <a16:colId xmlns:a16="http://schemas.microsoft.com/office/drawing/2014/main" val="2966449901"/>
                    </a:ext>
                  </a:extLst>
                </a:gridCol>
                <a:gridCol w="1046772">
                  <a:extLst>
                    <a:ext uri="{9D8B030D-6E8A-4147-A177-3AD203B41FA5}">
                      <a16:colId xmlns:a16="http://schemas.microsoft.com/office/drawing/2014/main" val="25928938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/>
                        <a:t>Δ</a:t>
                      </a:r>
                      <a:r>
                        <a:rPr lang="en-US" dirty="0"/>
                        <a:t>G</a:t>
                      </a:r>
                      <a:r>
                        <a:rPr lang="en-US" baseline="-25000" dirty="0"/>
                        <a:t>PP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40063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F</a:t>
                      </a:r>
                      <a:r>
                        <a:rPr lang="en-US" baseline="-250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1.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32605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/>
                        <a:t>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28320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O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0.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253905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3E99C8D-9D7A-4357-A95D-897445CF5ACE}"/>
              </a:ext>
            </a:extLst>
          </p:cNvPr>
          <p:cNvSpPr/>
          <p:nvPr/>
        </p:nvSpPr>
        <p:spPr>
          <a:xfrm>
            <a:off x="3070860" y="4846320"/>
            <a:ext cx="4587240" cy="244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FA37087D-9E96-4B13-A739-7404C9199A9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0964203"/>
              </p:ext>
            </p:extLst>
          </p:nvPr>
        </p:nvGraphicFramePr>
        <p:xfrm>
          <a:off x="444813" y="3656555"/>
          <a:ext cx="993891" cy="529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7" name="CS ChemDraw Drawing" r:id="rId10" imgW="662594" imgH="353291" progId="ChemDraw.Document.6.0">
                  <p:embed/>
                </p:oleObj>
              </mc:Choice>
              <mc:Fallback>
                <p:oleObj name="CS ChemDraw Drawing" r:id="rId10" imgW="662594" imgH="35329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44813" y="3656555"/>
                        <a:ext cx="993891" cy="5299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111805FA-C1C9-4CC9-A235-8ED9C8F40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196731"/>
              </p:ext>
            </p:extLst>
          </p:nvPr>
        </p:nvGraphicFramePr>
        <p:xfrm>
          <a:off x="1491115" y="3073193"/>
          <a:ext cx="209354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6772">
                  <a:extLst>
                    <a:ext uri="{9D8B030D-6E8A-4147-A177-3AD203B41FA5}">
                      <a16:colId xmlns:a16="http://schemas.microsoft.com/office/drawing/2014/main" val="2966449901"/>
                    </a:ext>
                  </a:extLst>
                </a:gridCol>
                <a:gridCol w="1046772">
                  <a:extLst>
                    <a:ext uri="{9D8B030D-6E8A-4147-A177-3AD203B41FA5}">
                      <a16:colId xmlns:a16="http://schemas.microsoft.com/office/drawing/2014/main" val="25928938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/>
                        <a:t>Δ</a:t>
                      </a:r>
                      <a:r>
                        <a:rPr lang="en-US" dirty="0"/>
                        <a:t>G</a:t>
                      </a:r>
                      <a:r>
                        <a:rPr lang="en-US" baseline="-25000" dirty="0"/>
                        <a:t>PP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40063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H</a:t>
                      </a:r>
                      <a:r>
                        <a:rPr lang="en-US" baseline="-25000" dirty="0"/>
                        <a:t>2</a:t>
                      </a:r>
                      <a:r>
                        <a:rPr lang="en-US" dirty="0"/>
                        <a:t>Ph</a:t>
                      </a:r>
                      <a:endParaRPr lang="en-US" baseline="-25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.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32605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/>
                        <a:t>CHMe</a:t>
                      </a:r>
                      <a:r>
                        <a:rPr lang="en-US" baseline="-25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28320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Me</a:t>
                      </a:r>
                      <a:r>
                        <a:rPr lang="en-US" baseline="-250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253905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DC0D9B57-07B5-460A-AA4F-314CE4242D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346949"/>
              </p:ext>
            </p:extLst>
          </p:nvPr>
        </p:nvGraphicFramePr>
        <p:xfrm>
          <a:off x="1216451" y="1063338"/>
          <a:ext cx="209354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6772">
                  <a:extLst>
                    <a:ext uri="{9D8B030D-6E8A-4147-A177-3AD203B41FA5}">
                      <a16:colId xmlns:a16="http://schemas.microsoft.com/office/drawing/2014/main" val="2966449901"/>
                    </a:ext>
                  </a:extLst>
                </a:gridCol>
                <a:gridCol w="1046772">
                  <a:extLst>
                    <a:ext uri="{9D8B030D-6E8A-4147-A177-3AD203B41FA5}">
                      <a16:colId xmlns:a16="http://schemas.microsoft.com/office/drawing/2014/main" val="25928938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/>
                        <a:t>Δ</a:t>
                      </a:r>
                      <a:r>
                        <a:rPr lang="en-US" dirty="0"/>
                        <a:t>G</a:t>
                      </a:r>
                      <a:r>
                        <a:rPr lang="en-US" baseline="-25000" dirty="0"/>
                        <a:t>PP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40063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OMe</a:t>
                      </a:r>
                      <a:endParaRPr lang="en-US" baseline="-25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32605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/>
                        <a:t>H</a:t>
                      </a:r>
                      <a:endParaRPr lang="en-US" baseline="-25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28320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r>
                        <a:rPr lang="en-US" baseline="-25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0.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253905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F29D7112-5554-48A5-B6BF-E845FE267D32}"/>
              </a:ext>
            </a:extLst>
          </p:cNvPr>
          <p:cNvSpPr txBox="1"/>
          <p:nvPr/>
        </p:nvSpPr>
        <p:spPr>
          <a:xfrm>
            <a:off x="3584659" y="4752067"/>
            <a:ext cx="44170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l-GR" sz="1400" dirty="0"/>
              <a:t>Δ</a:t>
            </a:r>
            <a:r>
              <a:rPr lang="en-US" sz="1400" dirty="0"/>
              <a:t>G</a:t>
            </a:r>
            <a:r>
              <a:rPr lang="en-US" sz="1400" baseline="-25000" dirty="0"/>
              <a:t>PPN </a:t>
            </a:r>
            <a:r>
              <a:rPr lang="en-US" sz="1400" dirty="0"/>
              <a:t>in kcal/mol 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AB3C056-490B-4736-A483-92264D3D38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606244"/>
              </p:ext>
            </p:extLst>
          </p:nvPr>
        </p:nvGraphicFramePr>
        <p:xfrm>
          <a:off x="3649380" y="2064383"/>
          <a:ext cx="5486685" cy="37084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806505">
                  <a:extLst>
                    <a:ext uri="{9D8B030D-6E8A-4147-A177-3AD203B41FA5}">
                      <a16:colId xmlns:a16="http://schemas.microsoft.com/office/drawing/2014/main" val="2391759950"/>
                    </a:ext>
                  </a:extLst>
                </a:gridCol>
                <a:gridCol w="1170045">
                  <a:extLst>
                    <a:ext uri="{9D8B030D-6E8A-4147-A177-3AD203B41FA5}">
                      <a16:colId xmlns:a16="http://schemas.microsoft.com/office/drawing/2014/main" val="3668168484"/>
                    </a:ext>
                  </a:extLst>
                </a:gridCol>
                <a:gridCol w="1170045">
                  <a:extLst>
                    <a:ext uri="{9D8B030D-6E8A-4147-A177-3AD203B41FA5}">
                      <a16:colId xmlns:a16="http://schemas.microsoft.com/office/drawing/2014/main" val="2134234882"/>
                    </a:ext>
                  </a:extLst>
                </a:gridCol>
                <a:gridCol w="1170045">
                  <a:extLst>
                    <a:ext uri="{9D8B030D-6E8A-4147-A177-3AD203B41FA5}">
                      <a16:colId xmlns:a16="http://schemas.microsoft.com/office/drawing/2014/main" val="2430220370"/>
                    </a:ext>
                  </a:extLst>
                </a:gridCol>
                <a:gridCol w="1170045">
                  <a:extLst>
                    <a:ext uri="{9D8B030D-6E8A-4147-A177-3AD203B41FA5}">
                      <a16:colId xmlns:a16="http://schemas.microsoft.com/office/drawing/2014/main" val="18565578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/>
                        <a:t>Δ</a:t>
                      </a:r>
                      <a:r>
                        <a:rPr lang="en-US" sz="1600" dirty="0"/>
                        <a:t>G</a:t>
                      </a:r>
                      <a:r>
                        <a:rPr lang="en-US" sz="1600" baseline="-25000" dirty="0"/>
                        <a:t>PPN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.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06721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669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85BE90-C969-4184-828F-1F14E18E61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ed PNP ligands compared with benchmark catalys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2ABC01C-3B9E-4026-B50C-E0FD22961F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179150"/>
              </p:ext>
            </p:extLst>
          </p:nvPr>
        </p:nvGraphicFramePr>
        <p:xfrm>
          <a:off x="27879" y="2008384"/>
          <a:ext cx="9088242" cy="20402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48512">
                  <a:extLst>
                    <a:ext uri="{9D8B030D-6E8A-4147-A177-3AD203B41FA5}">
                      <a16:colId xmlns:a16="http://schemas.microsoft.com/office/drawing/2014/main" val="73453159"/>
                    </a:ext>
                  </a:extLst>
                </a:gridCol>
                <a:gridCol w="1389082">
                  <a:extLst>
                    <a:ext uri="{9D8B030D-6E8A-4147-A177-3AD203B41FA5}">
                      <a16:colId xmlns:a16="http://schemas.microsoft.com/office/drawing/2014/main" val="736099"/>
                    </a:ext>
                  </a:extLst>
                </a:gridCol>
                <a:gridCol w="878664">
                  <a:extLst>
                    <a:ext uri="{9D8B030D-6E8A-4147-A177-3AD203B41FA5}">
                      <a16:colId xmlns:a16="http://schemas.microsoft.com/office/drawing/2014/main" val="1800993017"/>
                    </a:ext>
                  </a:extLst>
                </a:gridCol>
                <a:gridCol w="878664">
                  <a:extLst>
                    <a:ext uri="{9D8B030D-6E8A-4147-A177-3AD203B41FA5}">
                      <a16:colId xmlns:a16="http://schemas.microsoft.com/office/drawing/2014/main" val="2765635005"/>
                    </a:ext>
                  </a:extLst>
                </a:gridCol>
                <a:gridCol w="878664">
                  <a:extLst>
                    <a:ext uri="{9D8B030D-6E8A-4147-A177-3AD203B41FA5}">
                      <a16:colId xmlns:a16="http://schemas.microsoft.com/office/drawing/2014/main" val="3447787387"/>
                    </a:ext>
                  </a:extLst>
                </a:gridCol>
                <a:gridCol w="878664">
                  <a:extLst>
                    <a:ext uri="{9D8B030D-6E8A-4147-A177-3AD203B41FA5}">
                      <a16:colId xmlns:a16="http://schemas.microsoft.com/office/drawing/2014/main" val="4174086449"/>
                    </a:ext>
                  </a:extLst>
                </a:gridCol>
                <a:gridCol w="878664">
                  <a:extLst>
                    <a:ext uri="{9D8B030D-6E8A-4147-A177-3AD203B41FA5}">
                      <a16:colId xmlns:a16="http://schemas.microsoft.com/office/drawing/2014/main" val="4278912696"/>
                    </a:ext>
                  </a:extLst>
                </a:gridCol>
                <a:gridCol w="878664">
                  <a:extLst>
                    <a:ext uri="{9D8B030D-6E8A-4147-A177-3AD203B41FA5}">
                      <a16:colId xmlns:a16="http://schemas.microsoft.com/office/drawing/2014/main" val="1811328921"/>
                    </a:ext>
                  </a:extLst>
                </a:gridCol>
                <a:gridCol w="878664">
                  <a:extLst>
                    <a:ext uri="{9D8B030D-6E8A-4147-A177-3AD203B41FA5}">
                      <a16:colId xmlns:a16="http://schemas.microsoft.com/office/drawing/2014/main" val="232397090"/>
                    </a:ext>
                  </a:extLst>
                </a:gridCol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igand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solidFill>
                            <a:schemeClr val="bg1"/>
                          </a:solidFill>
                          <a:effectLst/>
                        </a:rPr>
                        <a:t>Productivity</a:t>
                      </a:r>
                      <a:endParaRPr lang="en-US" sz="20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duct selectivity (</a:t>
                      </a:r>
                      <a:r>
                        <a:rPr lang="en-US" sz="20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t</a:t>
                      </a:r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%)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5109307"/>
                  </a:ext>
                </a:extLst>
              </a:tr>
              <a:tr h="2309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(kg g</a:t>
                      </a:r>
                      <a:r>
                        <a:rPr lang="en-US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Cr</a:t>
                      </a:r>
                      <a:r>
                        <a:rPr lang="en-US" sz="2000" u="none" strike="noStrike" baseline="30000" dirty="0">
                          <a:solidFill>
                            <a:schemeClr val="bg1"/>
                          </a:solidFill>
                          <a:effectLst/>
                        </a:rPr>
                        <a:t>-1 </a:t>
                      </a:r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h</a:t>
                      </a:r>
                      <a:r>
                        <a:rPr lang="en-US" sz="2000" u="none" strike="noStrike" baseline="30000" dirty="0">
                          <a:solidFill>
                            <a:schemeClr val="bg1"/>
                          </a:solidFill>
                          <a:effectLst/>
                        </a:rPr>
                        <a:t>-1</a:t>
                      </a:r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</a:t>
                      </a:r>
                      <a:r>
                        <a:rPr lang="pt-BR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pt-BR" sz="2000" b="0" i="0" u="none" strike="noStrike" baseline="-25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-C</a:t>
                      </a:r>
                      <a:r>
                        <a:rPr lang="en-US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(in C</a:t>
                      </a:r>
                      <a:r>
                        <a:rPr lang="en-US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</a:t>
                      </a:r>
                      <a:r>
                        <a:rPr lang="en-US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8</a:t>
                      </a:r>
                      <a:endParaRPr lang="en-US" sz="2000" b="0" i="0" u="none" strike="noStrike" baseline="-25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-C</a:t>
                      </a:r>
                      <a:r>
                        <a:rPr lang="en-US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8</a:t>
                      </a:r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(in C</a:t>
                      </a:r>
                      <a:r>
                        <a:rPr lang="en-US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8</a:t>
                      </a:r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-C</a:t>
                      </a:r>
                      <a:r>
                        <a:rPr lang="en-US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+ </a:t>
                      </a:r>
                    </a:p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-C</a:t>
                      </a:r>
                      <a:r>
                        <a:rPr lang="en-US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8</a:t>
                      </a:r>
                      <a:endParaRPr lang="en-US" sz="2000" b="0" i="0" u="none" strike="noStrike" baseline="-25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</a:t>
                      </a:r>
                      <a:r>
                        <a:rPr lang="en-US" sz="2000" u="none" strike="noStrike" baseline="-25000" dirty="0">
                          <a:solidFill>
                            <a:schemeClr val="bg1"/>
                          </a:solidFill>
                          <a:effectLst/>
                        </a:rPr>
                        <a:t>10+</a:t>
                      </a:r>
                      <a:endParaRPr lang="en-US" sz="2000" b="0" i="0" u="none" strike="noStrike" baseline="-25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E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43415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</a:rPr>
                        <a:t>benchmark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</a:rPr>
                        <a:t>118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</a:rPr>
                        <a:t>22.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81.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7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97.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88.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.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.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603768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</a:rPr>
                        <a:t> ligand 1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</a:rPr>
                        <a:t>171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</a:rPr>
                        <a:t>40.9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95.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57.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98.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95.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0.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.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34450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ligand 2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1492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24.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56.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72.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95.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82.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.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0.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731852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02CB32E-2CAA-4004-958B-48C52E78B314}"/>
              </a:ext>
            </a:extLst>
          </p:cNvPr>
          <p:cNvSpPr txBox="1"/>
          <p:nvPr/>
        </p:nvSpPr>
        <p:spPr>
          <a:xfrm>
            <a:off x="55758" y="4089695"/>
            <a:ext cx="84516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/>
              <a:t>ligands studied in collaboration with Samir Barman and E. A. Jaseer (KFUPM), manuscript in preparation</a:t>
            </a:r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E1D6D04D-DC9B-4994-AB61-BD51060BA7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88665764"/>
              </p:ext>
            </p:extLst>
          </p:nvPr>
        </p:nvGraphicFramePr>
        <p:xfrm>
          <a:off x="2044530" y="750711"/>
          <a:ext cx="5010150" cy="101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8" name="CS ChemDraw Drawing" r:id="rId3" imgW="4093029" imgH="832935" progId="ChemDraw.Document.6.0">
                  <p:embed/>
                </p:oleObj>
              </mc:Choice>
              <mc:Fallback>
                <p:oleObj name="CS ChemDraw Drawing" r:id="rId3" imgW="4093029" imgH="832935" progId="ChemDraw.Document.6.0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58377954-F560-438F-9AE9-26BF7B4C9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44530" y="750711"/>
                        <a:ext cx="5010150" cy="1016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9B96C2-06E0-41C9-8229-F26B21C0C396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722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 err="1"/>
              <a:t>boston</a:t>
            </a:r>
            <a:r>
              <a:rPr lang="en-US" dirty="0"/>
              <a:t> downstream research center</a:t>
            </a:r>
          </a:p>
        </p:txBody>
      </p:sp>
      <p:pic>
        <p:nvPicPr>
          <p:cNvPr id="8" name="Picture 6" descr="C:\_LOCAL 170921\AMT Icons - new colors + pop-outs-05.png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0200" y="843981"/>
            <a:ext cx="5943600" cy="369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F09157A-C361-4FF1-868D-6D7954695AD6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65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C0F6B9-F6A9-46EB-A716-F95106A0A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ive ethylene tetramerization summary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BF6C2764-A4A2-45F3-B80A-93D67969A02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54424" y="747396"/>
          <a:ext cx="3443287" cy="1633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" name="CS ChemDraw Drawing" r:id="rId3" imgW="1957994" imgH="926176" progId="ChemDraw.Document.6.0">
                  <p:embed/>
                </p:oleObj>
              </mc:Choice>
              <mc:Fallback>
                <p:oleObj name="CS ChemDraw Drawing" r:id="rId3" imgW="1957994" imgH="926176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BF6C2764-A4A2-45F3-B80A-93D67969A0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54424" y="747396"/>
                        <a:ext cx="3443287" cy="16335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3EB7DF6-7C31-48DC-961E-6209D45957B9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0CF321B-24FE-4ABC-8E0C-3F70F76700CF}"/>
              </a:ext>
            </a:extLst>
          </p:cNvPr>
          <p:cNvSpPr txBox="1"/>
          <p:nvPr/>
        </p:nvSpPr>
        <p:spPr>
          <a:xfrm>
            <a:off x="5590943" y="720532"/>
            <a:ext cx="19447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5151FE"/>
                </a:solidFill>
              </a:rPr>
              <a:t>supported hypothes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5D4A96-A736-4607-BCFD-F5621DF6C0FB}"/>
              </a:ext>
            </a:extLst>
          </p:cNvPr>
          <p:cNvSpPr txBox="1"/>
          <p:nvPr/>
        </p:nvSpPr>
        <p:spPr>
          <a:xfrm>
            <a:off x="5327961" y="2762568"/>
            <a:ext cx="2558714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5151FE"/>
                </a:solidFill>
              </a:rPr>
              <a:t>developed novel PNP ligands</a:t>
            </a:r>
          </a:p>
          <a:p>
            <a:endParaRPr lang="en-US" sz="1400" dirty="0">
              <a:solidFill>
                <a:srgbClr val="5151FE"/>
              </a:solidFill>
            </a:endParaRPr>
          </a:p>
          <a:p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45% higher productivity</a:t>
            </a:r>
          </a:p>
          <a:p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7.8% higher 1-C6 + 1-C8 </a:t>
            </a:r>
            <a:r>
              <a:rPr lang="en-US" sz="1400" dirty="0" err="1">
                <a:solidFill>
                  <a:schemeClr val="tx1">
                    <a:lumMod val="50000"/>
                  </a:schemeClr>
                </a:solidFill>
              </a:rPr>
              <a:t>wt</a:t>
            </a: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%</a:t>
            </a:r>
          </a:p>
          <a:p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57% lower PE </a:t>
            </a:r>
            <a:r>
              <a:rPr lang="en-US" sz="1400" dirty="0" err="1">
                <a:solidFill>
                  <a:schemeClr val="tx1">
                    <a:lumMod val="50000"/>
                  </a:schemeClr>
                </a:solidFill>
              </a:rPr>
              <a:t>wt</a:t>
            </a: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9A339A-0D9D-495C-9C69-B91F2E87321A}"/>
              </a:ext>
            </a:extLst>
          </p:cNvPr>
          <p:cNvSpPr txBox="1"/>
          <p:nvPr/>
        </p:nvSpPr>
        <p:spPr>
          <a:xfrm>
            <a:off x="1028051" y="2642778"/>
            <a:ext cx="24224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5151FE"/>
                </a:solidFill>
              </a:rPr>
              <a:t>ruled out several candidates</a:t>
            </a:r>
          </a:p>
        </p:txBody>
      </p:sp>
      <p:graphicFrame>
        <p:nvGraphicFramePr>
          <p:cNvPr id="17" name="Object 16">
            <a:extLst>
              <a:ext uri="{FF2B5EF4-FFF2-40B4-BE49-F238E27FC236}">
                <a16:creationId xmlns:a16="http://schemas.microsoft.com/office/drawing/2014/main" id="{E3BF5A60-AD4A-4F1E-BEEB-557EDBE702A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6713" y="2950555"/>
          <a:ext cx="4306924" cy="1485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7" name="CS ChemDraw Drawing" r:id="rId5" imgW="5833456" imgH="2012719" progId="ChemDraw.Document.6.0">
                  <p:embed/>
                </p:oleObj>
              </mc:Choice>
              <mc:Fallback>
                <p:oleObj name="CS ChemDraw Drawing" r:id="rId5" imgW="5833456" imgH="2012719" progId="ChemDraw.Document.6.0">
                  <p:embed/>
                  <p:pic>
                    <p:nvPicPr>
                      <p:cNvPr id="17" name="Object 16">
                        <a:extLst>
                          <a:ext uri="{FF2B5EF4-FFF2-40B4-BE49-F238E27FC236}">
                            <a16:creationId xmlns:a16="http://schemas.microsoft.com/office/drawing/2014/main" id="{E3BF5A60-AD4A-4F1E-BEEB-557EDBE702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713" y="2950555"/>
                        <a:ext cx="4306924" cy="1485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ct 17">
            <a:extLst>
              <a:ext uri="{FF2B5EF4-FFF2-40B4-BE49-F238E27FC236}">
                <a16:creationId xmlns:a16="http://schemas.microsoft.com/office/drawing/2014/main" id="{B11A6FC5-9F04-4E45-9097-C8EA72E444B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183214" y="1703225"/>
          <a:ext cx="1191337" cy="868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8" name="CS ChemDraw Drawing" r:id="rId7" imgW="737408" imgH="538942" progId="ChemDraw.Document.6.0">
                  <p:embed/>
                </p:oleObj>
              </mc:Choice>
              <mc:Fallback>
                <p:oleObj name="CS ChemDraw Drawing" r:id="rId7" imgW="737408" imgH="538942" progId="ChemDraw.Document.6.0">
                  <p:embed/>
                  <p:pic>
                    <p:nvPicPr>
                      <p:cNvPr id="18" name="Object 17">
                        <a:extLst>
                          <a:ext uri="{FF2B5EF4-FFF2-40B4-BE49-F238E27FC236}">
                            <a16:creationId xmlns:a16="http://schemas.microsoft.com/office/drawing/2014/main" id="{B11A6FC5-9F04-4E45-9097-C8EA72E444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183214" y="1703225"/>
                        <a:ext cx="1191337" cy="868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90AEE25A-0A8E-4CEA-A0B1-018E251A538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186513" y="1211263"/>
          <a:ext cx="2747963" cy="796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9" name="CS ChemDraw Drawing" r:id="rId9" imgW="1811828" imgH="524048" progId="ChemDraw.Document.6.0">
                  <p:embed/>
                </p:oleObj>
              </mc:Choice>
              <mc:Fallback>
                <p:oleObj name="CS ChemDraw Drawing" r:id="rId9" imgW="1811828" imgH="524048" progId="ChemDraw.Document.6.0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90AEE25A-0A8E-4CEA-A0B1-018E251A5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186513" y="1211263"/>
                        <a:ext cx="2747963" cy="796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5B020DC8-96B9-4584-9C41-F8875018F7C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774560" y="1700698"/>
          <a:ext cx="1369440" cy="7449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0" name="CS ChemDraw Drawing" r:id="rId11" imgW="866948" imgH="470708" progId="ChemDraw.Document.6.0">
                  <p:embed/>
                </p:oleObj>
              </mc:Choice>
              <mc:Fallback>
                <p:oleObj name="CS ChemDraw Drawing" r:id="rId11" imgW="866948" imgH="470708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5B020DC8-96B9-4584-9C41-F8875018F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7774560" y="1700698"/>
                        <a:ext cx="1369440" cy="7449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BE7003FA-5832-490D-8044-741DFE2904FB}"/>
              </a:ext>
            </a:extLst>
          </p:cNvPr>
          <p:cNvSpPr/>
          <p:nvPr/>
        </p:nvSpPr>
        <p:spPr>
          <a:xfrm>
            <a:off x="1383585" y="4384207"/>
            <a:ext cx="159110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i="1" dirty="0"/>
              <a:t>Sci. Rep.</a:t>
            </a:r>
            <a:r>
              <a:rPr lang="en-GB" dirty="0"/>
              <a:t> </a:t>
            </a:r>
            <a:r>
              <a:rPr lang="en-GB" b="1" dirty="0"/>
              <a:t>2021</a:t>
            </a:r>
            <a:r>
              <a:rPr lang="en-GB" dirty="0"/>
              <a:t>, </a:t>
            </a:r>
            <a:r>
              <a:rPr lang="en-GB" i="1" dirty="0"/>
              <a:t>11</a:t>
            </a:r>
            <a:r>
              <a:rPr lang="en-GB" dirty="0"/>
              <a:t>, 4534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5EC75D-2A58-4BC4-B3E3-C073F03E1D04}"/>
              </a:ext>
            </a:extLst>
          </p:cNvPr>
          <p:cNvSpPr/>
          <p:nvPr/>
        </p:nvSpPr>
        <p:spPr>
          <a:xfrm>
            <a:off x="1388731" y="2344010"/>
            <a:ext cx="197467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dirty="0"/>
              <a:t>http://github.com/sibo/xtbd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769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 uiExpand="1" build="p"/>
      <p:bldP spid="16" grpId="0"/>
      <p:bldP spid="1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D5E608F-2A66-4E2D-9C5C-32A612B104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993" y="675466"/>
            <a:ext cx="3660255" cy="618166"/>
          </a:xfrm>
        </p:spPr>
        <p:txBody>
          <a:bodyPr/>
          <a:lstStyle/>
          <a:p>
            <a:pPr marL="0" indent="0"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Aramco Americas </a:t>
            </a:r>
          </a:p>
          <a:p>
            <a:pPr marL="0" indent="0"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Advanced Materials Team (Cambridge, MA)</a:t>
            </a:r>
          </a:p>
          <a:p>
            <a:pPr marL="0" indent="0">
              <a:buNone/>
            </a:pPr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251BA4-4931-4182-9927-2908D01C6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emen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5227EB-7978-43B2-AFAE-19EAF202A92F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0B0E47-5167-4606-9905-4F9FF074DC99}"/>
              </a:ext>
            </a:extLst>
          </p:cNvPr>
          <p:cNvSpPr/>
          <p:nvPr/>
        </p:nvSpPr>
        <p:spPr>
          <a:xfrm>
            <a:off x="268473" y="2379431"/>
            <a:ext cx="281679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US" sz="1400" u="sng" dirty="0"/>
              <a:t>Saudi Aramco Chemicals R&amp;D</a:t>
            </a:r>
          </a:p>
          <a:p>
            <a:pPr algn="l"/>
            <a:r>
              <a:rPr lang="en-US" sz="1400" dirty="0"/>
              <a:t> Wei Xu</a:t>
            </a:r>
          </a:p>
          <a:p>
            <a:pPr algn="l"/>
            <a:r>
              <a:rPr lang="en-US" sz="1400" dirty="0"/>
              <a:t> Mohamed Elanany</a:t>
            </a:r>
          </a:p>
          <a:p>
            <a:pPr algn="l"/>
            <a:r>
              <a:rPr lang="en-US" sz="1400" dirty="0"/>
              <a:t> Motaz Khawaj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4C26FA-7274-450F-A98F-82561C8AD16A}"/>
              </a:ext>
            </a:extLst>
          </p:cNvPr>
          <p:cNvSpPr/>
          <p:nvPr/>
        </p:nvSpPr>
        <p:spPr>
          <a:xfrm>
            <a:off x="330513" y="1216003"/>
            <a:ext cx="355421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Jenna C. Fromer</a:t>
            </a:r>
            <a:endParaRPr lang="en-US" sz="14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Yagnaseni Ghosh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rian Hanna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ouglas Theberge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ana A. Wo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E89131-2E48-4A81-B6AD-12DD7BD493E4}"/>
              </a:ext>
            </a:extLst>
          </p:cNvPr>
          <p:cNvSpPr/>
          <p:nvPr/>
        </p:nvSpPr>
        <p:spPr>
          <a:xfrm>
            <a:off x="268473" y="3372815"/>
            <a:ext cx="401293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US" sz="1400" u="sng" dirty="0"/>
              <a:t>King Fahd Univ. of Petroleum and Minerals</a:t>
            </a:r>
          </a:p>
          <a:p>
            <a:pPr algn="l"/>
            <a:r>
              <a:rPr lang="en-US" sz="1400" dirty="0"/>
              <a:t> E. A. Jaseer</a:t>
            </a:r>
          </a:p>
          <a:p>
            <a:pPr algn="l"/>
            <a:r>
              <a:rPr lang="en-US" sz="1400" dirty="0"/>
              <a:t> Samir Barman</a:t>
            </a:r>
          </a:p>
          <a:p>
            <a:pPr algn="l"/>
            <a:endParaRPr lang="en-US" sz="1400" dirty="0"/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49C88E89-9EA3-428C-BF2A-A16634D6151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1668451"/>
              </p:ext>
            </p:extLst>
          </p:nvPr>
        </p:nvGraphicFramePr>
        <p:xfrm>
          <a:off x="5506750" y="13603"/>
          <a:ext cx="3059291" cy="14513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CS ChemDraw Drawing" r:id="rId3" imgW="1957994" imgH="926176" progId="ChemDraw.Document.6.0">
                  <p:embed/>
                </p:oleObj>
              </mc:Choice>
              <mc:Fallback>
                <p:oleObj name="CS ChemDraw Drawing" r:id="rId3" imgW="1957994" imgH="926176" progId="ChemDraw.Document.6.0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370DAB6-CB64-4395-8B4F-ACE3503E5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506750" y="13603"/>
                        <a:ext cx="3059291" cy="14513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803FFC35-C160-4AFF-997B-25BA96F33DEC}"/>
              </a:ext>
            </a:extLst>
          </p:cNvPr>
          <p:cNvGrpSpPr/>
          <p:nvPr/>
        </p:nvGrpSpPr>
        <p:grpSpPr>
          <a:xfrm>
            <a:off x="4504304" y="2783872"/>
            <a:ext cx="2489453" cy="1543050"/>
            <a:chOff x="232782" y="1108162"/>
            <a:chExt cx="3319270" cy="20574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DEF7329-B7A3-489C-91D4-7987FDFB71B6}"/>
                </a:ext>
              </a:extLst>
            </p:cNvPr>
            <p:cNvSpPr/>
            <p:nvPr/>
          </p:nvSpPr>
          <p:spPr>
            <a:xfrm>
              <a:off x="232782" y="1129392"/>
              <a:ext cx="3319270" cy="1794639"/>
            </a:xfrm>
            <a:prstGeom prst="rect">
              <a:avLst/>
            </a:prstGeom>
            <a:solidFill>
              <a:srgbClr val="FFFFFF">
                <a:alpha val="74902"/>
              </a:srgb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pic>
          <p:nvPicPr>
            <p:cNvPr id="19" name="Picture 18" descr="Diagram&#10;&#10;Description automatically generated">
              <a:extLst>
                <a:ext uri="{FF2B5EF4-FFF2-40B4-BE49-F238E27FC236}">
                  <a16:creationId xmlns:a16="http://schemas.microsoft.com/office/drawing/2014/main" id="{2EC4D196-880A-4536-B206-1C48ABDBE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16721" y="1108162"/>
              <a:ext cx="1543050" cy="2057400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49979513-9F3D-4D10-AF5D-F5B6802C82CE}"/>
              </a:ext>
            </a:extLst>
          </p:cNvPr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4" t="8775" r="30699" b="6401"/>
          <a:stretch/>
        </p:blipFill>
        <p:spPr bwMode="auto">
          <a:xfrm>
            <a:off x="6592830" y="2663580"/>
            <a:ext cx="2551170" cy="17756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3C9C91-64C1-46E6-9DA6-DA126F5F15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5494" y="1455669"/>
            <a:ext cx="4409147" cy="120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90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8950F-4847-49C7-8546-05DC68FFCF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57373A-E5FF-4C13-924E-0B0C9DA77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ementary slides…</a:t>
            </a:r>
          </a:p>
        </p:txBody>
      </p:sp>
    </p:spTree>
    <p:extLst>
      <p:ext uri="{BB962C8B-B14F-4D97-AF65-F5344CB8AC3E}">
        <p14:creationId xmlns:p14="http://schemas.microsoft.com/office/powerpoint/2010/main" val="1274542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028D36-0818-4769-9190-2367839BA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ed for selective ethylene tetramerization</a:t>
            </a:r>
          </a:p>
        </p:txBody>
      </p:sp>
      <p:pic>
        <p:nvPicPr>
          <p:cNvPr id="12" name="Content Placeholder 9">
            <a:extLst>
              <a:ext uri="{FF2B5EF4-FFF2-40B4-BE49-F238E27FC236}">
                <a16:creationId xmlns:a16="http://schemas.microsoft.com/office/drawing/2014/main" id="{C971ABC2-B47B-45D9-8206-B167B5CFF61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600" y="1754835"/>
            <a:ext cx="4133263" cy="2486204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4E850C8-734D-4736-BAAF-D402B6E2C8FE}"/>
              </a:ext>
            </a:extLst>
          </p:cNvPr>
          <p:cNvSpPr/>
          <p:nvPr/>
        </p:nvSpPr>
        <p:spPr>
          <a:xfrm>
            <a:off x="332606" y="1055529"/>
            <a:ext cx="45133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duction capacity of 1-octene is not projected to keep pace with deman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4077EE-08B1-4BE0-921A-F910ACC3CCA9}"/>
              </a:ext>
            </a:extLst>
          </p:cNvPr>
          <p:cNvSpPr/>
          <p:nvPr/>
        </p:nvSpPr>
        <p:spPr>
          <a:xfrm>
            <a:off x="3566798" y="4721467"/>
            <a:ext cx="2246569" cy="3214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onfidentia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85005F-273A-4BB6-8465-DE7375126A0D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CF567A-2393-4E94-A44A-4E9459B1388F}"/>
              </a:ext>
            </a:extLst>
          </p:cNvPr>
          <p:cNvSpPr txBox="1"/>
          <p:nvPr/>
        </p:nvSpPr>
        <p:spPr>
          <a:xfrm>
            <a:off x="621792" y="4636008"/>
            <a:ext cx="82895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 err="1"/>
              <a:t>Nexant</a:t>
            </a:r>
            <a:r>
              <a:rPr lang="en-US" dirty="0"/>
              <a:t> report - Developments in LAO </a:t>
            </a:r>
            <a:r>
              <a:rPr lang="en-US" dirty="0" err="1"/>
              <a:t>Comonomer</a:t>
            </a:r>
            <a:r>
              <a:rPr lang="en-US" dirty="0"/>
              <a:t> for Polyethylene - PERP 2012S11</a:t>
            </a:r>
            <a:endParaRPr lang="en-US" sz="900" dirty="0"/>
          </a:p>
        </p:txBody>
      </p:sp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D783001F-1F53-40B8-A59D-0555652D261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4" name="CS ChemDraw Drawing" r:id="rId4" imgW="1155013" imgH="1075655" progId="ChemDraw.Document.6.0">
                  <p:embed/>
                </p:oleObj>
              </mc:Choice>
              <mc:Fallback>
                <p:oleObj name="CS ChemDraw Drawing" r:id="rId4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5A9FB4D-C361-4B64-92FD-D8A173BA8F60}"/>
              </a:ext>
            </a:extLst>
          </p:cNvPr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097F9C5-7D77-4DD4-B4D8-C445084B9DB0}"/>
              </a:ext>
            </a:extLst>
          </p:cNvPr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51674B2-8F70-4CA7-A740-9CE0F382756F}"/>
              </a:ext>
            </a:extLst>
          </p:cNvPr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7AF3890-3FED-413D-820E-22CC05DEC7C3}"/>
              </a:ext>
            </a:extLst>
          </p:cNvPr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39210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1C8C6AE-8BE2-46BB-89AF-C89E39F4D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erse logarithmic rel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540A0CA6-B3EA-4C0F-9106-FFCC96C07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4864" y="539019"/>
            <a:ext cx="3817962" cy="37702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algn="l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algn="l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algn="l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algn="l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As a simplified model, if 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300" b="0" i="0" u="none" strike="noStrike" cap="none" normalizeH="0" baseline="0" dirty="0">
              <a:ln>
                <a:noFill/>
              </a:ln>
              <a:solidFill>
                <a:srgbClr val="222222"/>
              </a:solidFill>
              <a:effectLst/>
              <a:latin typeface="-apple-system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PNP and PPN isomers are in thermodynamic equilibrium ([PPN]</a:t>
            </a:r>
            <a:r>
              <a:rPr kumimoji="0" lang="en-US" altLang="en-US" sz="900" b="0" i="0" u="none" strike="noStrike" cap="none" normalizeH="0" baseline="-3000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0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/[PNP]</a:t>
            </a:r>
            <a:r>
              <a:rPr kumimoji="0" lang="en-US" altLang="en-US" sz="900" b="0" i="0" u="none" strike="noStrike" cap="none" normalizeH="0" baseline="-3000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0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 = e</a:t>
            </a:r>
            <a:r>
              <a:rPr kumimoji="0" lang="en-US" altLang="en-US" sz="900" b="0" i="0" u="none" strike="noStrike" cap="none" normalizeH="0" baseline="3000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−ΔGPPN/RT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)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initial PNP concentration is directly correlated with ethylene oligomerization productivity (oligomerization productivity = </a:t>
            </a:r>
            <a:r>
              <a:rPr kumimoji="0" lang="en-US" altLang="en-US" sz="1300" b="0" i="1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a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[PNP]</a:t>
            </a:r>
            <a:r>
              <a:rPr kumimoji="0" lang="en-US" altLang="en-US" sz="900" b="0" i="0" u="none" strike="noStrike" cap="none" normalizeH="0" baseline="-3000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0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)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initial PPN concentration is directly correlated with polymerization productivity (polymerization productivity = </a:t>
            </a:r>
            <a:r>
              <a:rPr kumimoji="0" lang="en-US" altLang="en-US" sz="1300" b="0" i="1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b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[PPN]</a:t>
            </a:r>
            <a:r>
              <a:rPr kumimoji="0" lang="en-US" altLang="en-US" sz="900" b="0" i="0" u="none" strike="noStrike" cap="none" normalizeH="0" baseline="-3000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0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)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1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a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 and </a:t>
            </a:r>
            <a:r>
              <a:rPr kumimoji="0" lang="en-US" altLang="en-US" sz="1300" b="0" i="1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b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 are constant across the range of PNP and PPN compound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sz="1300" dirty="0">
              <a:solidFill>
                <a:srgbClr val="222222"/>
              </a:solidFill>
              <a:latin typeface="-apple-system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300" dirty="0">
                <a:solidFill>
                  <a:srgbClr val="222222"/>
                </a:solidFill>
                <a:latin typeface="-apple-system"/>
              </a:rPr>
              <a:t>T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-apple-system"/>
              </a:rPr>
              <a:t>hen the following relation should be observed: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MathJax_Main"/>
              </a:rPr>
              <a:t>ln(polyethylene </a:t>
            </a: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222222"/>
                </a:solidFill>
                <a:effectLst/>
                <a:latin typeface="MathJax_Main"/>
              </a:rPr>
              <a:t>wt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MathJax_Main"/>
              </a:rPr>
              <a:t>%)=ln(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MathJax_Math-italic"/>
              </a:rPr>
              <a:t>b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MathJax_Main"/>
              </a:rPr>
              <a:t>/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MathJax_Math-italic"/>
              </a:rPr>
              <a:t>a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MathJax_Main"/>
              </a:rPr>
              <a:t>)−ΔG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MathJax_Main"/>
              </a:rPr>
              <a:t>PPN 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MathJax_Main"/>
              </a:rPr>
              <a:t>/ RT</a:t>
            </a:r>
            <a:endParaRPr kumimoji="0" lang="en-US" altLang="en-US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94F86E7-2E20-44A0-973D-07AE9A8D82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2951138"/>
              </p:ext>
            </p:extLst>
          </p:nvPr>
        </p:nvGraphicFramePr>
        <p:xfrm>
          <a:off x="444813" y="1714777"/>
          <a:ext cx="3520673" cy="2283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80B5E9F-5272-4C65-A4C6-DBD1E2BC7DE2}"/>
              </a:ext>
            </a:extLst>
          </p:cNvPr>
          <p:cNvSpPr/>
          <p:nvPr/>
        </p:nvSpPr>
        <p:spPr>
          <a:xfrm>
            <a:off x="444813" y="4024129"/>
            <a:ext cx="413384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dirty="0"/>
              <a:t>S. Kuhlmann, K. </a:t>
            </a:r>
            <a:r>
              <a:rPr lang="en-GB" dirty="0" err="1"/>
              <a:t>Blann</a:t>
            </a:r>
            <a:r>
              <a:rPr lang="en-GB" dirty="0"/>
              <a:t>, et al., </a:t>
            </a:r>
            <a:r>
              <a:rPr lang="en-GB" i="1" dirty="0"/>
              <a:t>J. </a:t>
            </a:r>
            <a:r>
              <a:rPr lang="en-GB" i="1" dirty="0" err="1"/>
              <a:t>Catal</a:t>
            </a:r>
            <a:r>
              <a:rPr lang="en-GB" i="1" dirty="0"/>
              <a:t>.</a:t>
            </a:r>
            <a:r>
              <a:rPr lang="en-GB" dirty="0"/>
              <a:t>, 2007, </a:t>
            </a:r>
            <a:r>
              <a:rPr lang="en-GB" b="1" dirty="0"/>
              <a:t>245</a:t>
            </a:r>
            <a:r>
              <a:rPr lang="en-GB" dirty="0"/>
              <a:t>, 279-284</a:t>
            </a:r>
          </a:p>
          <a:p>
            <a:pPr algn="l"/>
            <a:r>
              <a:rPr lang="en-GB" dirty="0"/>
              <a:t>K. </a:t>
            </a:r>
            <a:r>
              <a:rPr lang="en-GB" dirty="0" err="1"/>
              <a:t>Blann</a:t>
            </a:r>
            <a:r>
              <a:rPr lang="en-GB" dirty="0"/>
              <a:t>, A. Bollmann, et al., </a:t>
            </a:r>
            <a:r>
              <a:rPr lang="en-GB" i="1" dirty="0"/>
              <a:t>J. </a:t>
            </a:r>
            <a:r>
              <a:rPr lang="en-GB" i="1" dirty="0" err="1"/>
              <a:t>Catal</a:t>
            </a:r>
            <a:r>
              <a:rPr lang="en-GB" i="1" dirty="0"/>
              <a:t>.</a:t>
            </a:r>
            <a:r>
              <a:rPr lang="en-GB" dirty="0"/>
              <a:t>, 2007, </a:t>
            </a:r>
            <a:r>
              <a:rPr lang="en-GB" b="1" dirty="0"/>
              <a:t>249</a:t>
            </a:r>
            <a:r>
              <a:rPr lang="en-GB" dirty="0"/>
              <a:t>, 244-249.</a:t>
            </a:r>
          </a:p>
          <a:p>
            <a:pPr algn="l"/>
            <a:r>
              <a:rPr lang="en-GB" dirty="0"/>
              <a:t>E. Killian, K. </a:t>
            </a:r>
            <a:r>
              <a:rPr lang="en-GB" dirty="0" err="1"/>
              <a:t>Blann</a:t>
            </a:r>
            <a:r>
              <a:rPr lang="en-GB" dirty="0"/>
              <a:t>, et al., </a:t>
            </a:r>
            <a:r>
              <a:rPr lang="en-GB" i="1" dirty="0"/>
              <a:t>J. Mol. </a:t>
            </a:r>
            <a:r>
              <a:rPr lang="en-GB" i="1" dirty="0" err="1"/>
              <a:t>Catal</a:t>
            </a:r>
            <a:r>
              <a:rPr lang="en-GB" i="1" dirty="0"/>
              <a:t>. A: Chem.</a:t>
            </a:r>
            <a:r>
              <a:rPr lang="en-GB" dirty="0"/>
              <a:t>, 2007, </a:t>
            </a:r>
            <a:r>
              <a:rPr lang="en-GB" b="1" dirty="0"/>
              <a:t>270</a:t>
            </a:r>
            <a:r>
              <a:rPr lang="en-GB" dirty="0"/>
              <a:t>, 214-218.</a:t>
            </a:r>
            <a:endParaRPr lang="en-US" dirty="0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8CB991C2-1D76-4A09-8148-4074A678D56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1418603"/>
              </p:ext>
            </p:extLst>
          </p:nvPr>
        </p:nvGraphicFramePr>
        <p:xfrm>
          <a:off x="952500" y="657760"/>
          <a:ext cx="2660650" cy="10810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4" name="CS ChemDraw Drawing" r:id="rId4" imgW="2660419" imgH="1080308" progId="ChemDraw.Document.6.0">
                  <p:embed/>
                </p:oleObj>
              </mc:Choice>
              <mc:Fallback>
                <p:oleObj name="CS ChemDraw Drawing" r:id="rId4" imgW="2660419" imgH="1080308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2CF1CC81-483B-41AC-8596-A9B20A02F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52500" y="657760"/>
                        <a:ext cx="2660650" cy="10810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8315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2655AA2-3951-4358-A28B-A70EEBE3D1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utational intensity: MM &lt; GFN-</a:t>
            </a:r>
            <a:r>
              <a:rPr lang="en-US" dirty="0" err="1"/>
              <a:t>xTB</a:t>
            </a:r>
            <a:r>
              <a:rPr lang="en-US" dirty="0"/>
              <a:t> &lt;&lt; DFT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MM methods must be carefully parameterized for molecules of interest</a:t>
            </a:r>
          </a:p>
          <a:p>
            <a:pPr lvl="1"/>
            <a:r>
              <a:rPr lang="en-US" dirty="0"/>
              <a:t>Commonly available MM methods (MMFF and UFF) perform poorly with metal centers or exotic functional groups</a:t>
            </a:r>
          </a:p>
          <a:p>
            <a:endParaRPr lang="en-US" dirty="0"/>
          </a:p>
          <a:p>
            <a:r>
              <a:rPr lang="en-US" dirty="0"/>
              <a:t>GFN-</a:t>
            </a:r>
            <a:r>
              <a:rPr lang="en-US" dirty="0" err="1"/>
              <a:t>xTB</a:t>
            </a:r>
            <a:r>
              <a:rPr lang="en-US" dirty="0"/>
              <a:t> is generally applicable to many elements (H-Rn) and types of molecules[ref]</a:t>
            </a:r>
          </a:p>
          <a:p>
            <a:endParaRPr lang="en-US" dirty="0"/>
          </a:p>
          <a:p>
            <a:r>
              <a:rPr lang="en-US" dirty="0"/>
              <a:t>CREST uses meta-dynamics to explore wide conformer space</a:t>
            </a:r>
          </a:p>
          <a:p>
            <a:endParaRPr lang="en-US" dirty="0"/>
          </a:p>
          <a:p>
            <a:r>
              <a:rPr lang="en-US" dirty="0"/>
              <a:t>CREST also eliminates symmetrically equivalent conformers (by comparing energy and symmetry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2527D0-D204-45F5-BD47-BA324D7DC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FN-</a:t>
            </a:r>
            <a:r>
              <a:rPr lang="en-US" dirty="0" err="1"/>
              <a:t>xTB</a:t>
            </a:r>
            <a:r>
              <a:rPr lang="en-US" dirty="0"/>
              <a:t>/CREST vs molecular mechanics (MM)</a:t>
            </a:r>
          </a:p>
        </p:txBody>
      </p:sp>
    </p:spTree>
    <p:extLst>
      <p:ext uri="{BB962C8B-B14F-4D97-AF65-F5344CB8AC3E}">
        <p14:creationId xmlns:p14="http://schemas.microsoft.com/office/powerpoint/2010/main" val="24615255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C9746C0-779E-4756-9435-E0926AE6E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cs typeface="Calibri" panose="020F0502020204030204" pitchFamily="34" charset="0"/>
              </a:rPr>
              <a:t>1-octene results from metallocycle mechanism</a:t>
            </a:r>
            <a:br>
              <a:rPr lang="en-US" sz="2400" dirty="0">
                <a:cs typeface="Calibri" panose="020F0502020204030204" pitchFamily="34" charset="0"/>
              </a:rPr>
            </a:br>
            <a:endParaRPr lang="en-US" dirty="0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9326651B-EFCE-4C6C-AD18-E63C02B2870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437716" y="1261378"/>
          <a:ext cx="1506210" cy="1776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1" name="CS ChemDraw Drawing" r:id="rId3" imgW="1177523" imgH="1389680" progId="ChemDraw.Document.6.0">
                  <p:embed/>
                </p:oleObj>
              </mc:Choice>
              <mc:Fallback>
                <p:oleObj name="CS ChemDraw Drawing" r:id="rId3" imgW="1177523" imgH="1389680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9326651B-EFCE-4C6C-AD18-E63C02B287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437716" y="1261378"/>
                        <a:ext cx="1506210" cy="1776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BEC99282-7714-4DDE-A19D-87A2424E00F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45621" y="2428186"/>
          <a:ext cx="3284431" cy="1989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2" name="CS ChemDraw Drawing" r:id="rId5" imgW="2567784" imgH="1556143" progId="ChemDraw.Document.6.0">
                  <p:embed/>
                </p:oleObj>
              </mc:Choice>
              <mc:Fallback>
                <p:oleObj name="CS ChemDraw Drawing" r:id="rId5" imgW="2567784" imgH="1556143" progId="ChemDraw.Document.6.0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BEC99282-7714-4DDE-A19D-87A2424E00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45621" y="2428186"/>
                        <a:ext cx="3284431" cy="1989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30C93D77-8930-4C4E-B39D-A0C6E82E398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6944" y="751462"/>
          <a:ext cx="3320970" cy="16767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3" name="CS ChemDraw Drawing" r:id="rId7" imgW="2597642" imgH="1311748" progId="ChemDraw.Document.6.0">
                  <p:embed/>
                </p:oleObj>
              </mc:Choice>
              <mc:Fallback>
                <p:oleObj name="CS ChemDraw Drawing" r:id="rId7" imgW="2597642" imgH="1311748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30C93D77-8930-4C4E-B39D-A0C6E82E3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6944" y="751462"/>
                        <a:ext cx="3320970" cy="16767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3E2C634-8979-406F-8935-72DD6D6920F0}"/>
              </a:ext>
            </a:extLst>
          </p:cNvPr>
          <p:cNvSpPr txBox="1"/>
          <p:nvPr/>
        </p:nvSpPr>
        <p:spPr>
          <a:xfrm>
            <a:off x="4217780" y="2275088"/>
            <a:ext cx="462979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 algn="l">
              <a:buAutoNum type="arabicParenR"/>
            </a:pPr>
            <a:r>
              <a:rPr lang="en-US" sz="2000" dirty="0"/>
              <a:t> Metallocycle formation</a:t>
            </a:r>
          </a:p>
          <a:p>
            <a:pPr marL="228600" indent="-228600" algn="l">
              <a:buAutoNum type="arabicParenR"/>
            </a:pPr>
            <a:r>
              <a:rPr lang="en-US" sz="2000" dirty="0"/>
              <a:t> Ring growth</a:t>
            </a:r>
          </a:p>
          <a:p>
            <a:pPr marL="228600" indent="-228600" algn="l">
              <a:buAutoNum type="arabicParenR"/>
            </a:pPr>
            <a:r>
              <a:rPr lang="en-US" sz="2000" dirty="0"/>
              <a:t> Ring termination (</a:t>
            </a:r>
            <a:r>
              <a:rPr lang="el-GR" sz="2000" dirty="0"/>
              <a:t>β</a:t>
            </a:r>
            <a:r>
              <a:rPr lang="en-US" sz="2000" dirty="0"/>
              <a:t>-hydride transfer)</a:t>
            </a:r>
          </a:p>
        </p:txBody>
      </p:sp>
    </p:spTree>
    <p:extLst>
      <p:ext uri="{BB962C8B-B14F-4D97-AF65-F5344CB8AC3E}">
        <p14:creationId xmlns:p14="http://schemas.microsoft.com/office/powerpoint/2010/main" val="474385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618BC3-E957-45D1-A604-8CCB7E73A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cGuinness’s 2016 DFT mechanism study 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922AE7AA-1AAC-40BA-8836-FD74EB4EBCC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2188" y="752475"/>
          <a:ext cx="5908675" cy="3638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CS ChemDraw Drawing" r:id="rId3" imgW="5908100" imgH="3638802" progId="ChemDraw.Document.6.0">
                  <p:embed/>
                </p:oleObj>
              </mc:Choice>
              <mc:Fallback>
                <p:oleObj name="CS ChemDraw Drawing" r:id="rId3" imgW="5908100" imgH="3638802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922AE7AA-1AAC-40BA-8836-FD74EB4EB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2188" y="752475"/>
                        <a:ext cx="5908675" cy="3638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4D2CF6A-5247-4F58-92F4-15C9FDE010B3}"/>
              </a:ext>
            </a:extLst>
          </p:cNvPr>
          <p:cNvSpPr txBox="1"/>
          <p:nvPr/>
        </p:nvSpPr>
        <p:spPr>
          <a:xfrm>
            <a:off x="4716780" y="2372657"/>
            <a:ext cx="424434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/>
              <a:t>Model of truncated ligand predicts (too) high 1-octene/1-hexene ratio (</a:t>
            </a:r>
            <a:r>
              <a:rPr lang="el-GR" sz="1400" dirty="0"/>
              <a:t>ΔΔ</a:t>
            </a:r>
            <a:r>
              <a:rPr lang="en-US" sz="1400" dirty="0"/>
              <a:t>G = 5.7 kcal/mol)</a:t>
            </a:r>
          </a:p>
          <a:p>
            <a:pPr algn="l"/>
            <a:endParaRPr lang="en-US" sz="1400" dirty="0"/>
          </a:p>
          <a:p>
            <a:pPr algn="l"/>
            <a:r>
              <a:rPr lang="en-US" sz="1400" dirty="0"/>
              <a:t>7 conformers of </a:t>
            </a:r>
            <a:r>
              <a:rPr lang="en-US" sz="1400" b="1" dirty="0"/>
              <a:t>18b</a:t>
            </a:r>
            <a:r>
              <a:rPr lang="en-US" sz="1400" dirty="0"/>
              <a:t> were considered</a:t>
            </a:r>
          </a:p>
          <a:p>
            <a:pPr algn="l"/>
            <a:r>
              <a:rPr lang="en-US" sz="1400" dirty="0"/>
              <a:t>1 conformer of </a:t>
            </a:r>
            <a:r>
              <a:rPr lang="en-US" sz="1400" b="1" dirty="0"/>
              <a:t>TS18f-19</a:t>
            </a:r>
            <a:r>
              <a:rPr lang="en-US" sz="1400" dirty="0"/>
              <a:t> was considered</a:t>
            </a:r>
          </a:p>
          <a:p>
            <a:pPr algn="l"/>
            <a:endParaRPr lang="en-US" sz="1400" dirty="0"/>
          </a:p>
          <a:p>
            <a:pPr marL="285750" indent="-285750" algn="l">
              <a:buFontTx/>
              <a:buChar char="-"/>
            </a:pPr>
            <a:r>
              <a:rPr lang="en-US" sz="1400" dirty="0"/>
              <a:t>Many more were not explicitly modelled</a:t>
            </a:r>
          </a:p>
          <a:p>
            <a:pPr marL="285750" indent="-285750" algn="l">
              <a:buFontTx/>
              <a:buChar char="-"/>
            </a:pPr>
            <a:r>
              <a:rPr lang="en-US" sz="1400" dirty="0"/>
              <a:t>Replacing </a:t>
            </a:r>
            <a:r>
              <a:rPr lang="en-US" sz="1400" i="1" dirty="0"/>
              <a:t>N</a:t>
            </a:r>
            <a:r>
              <a:rPr lang="en-US" sz="1400" dirty="0"/>
              <a:t>-Me with </a:t>
            </a:r>
            <a:r>
              <a:rPr lang="en-US" sz="1400" i="1" dirty="0"/>
              <a:t>N</a:t>
            </a:r>
            <a:r>
              <a:rPr lang="en-US" sz="1400" dirty="0"/>
              <a:t>-</a:t>
            </a:r>
            <a:r>
              <a:rPr lang="en-US" sz="1400" dirty="0" err="1"/>
              <a:t>iPr</a:t>
            </a:r>
            <a:r>
              <a:rPr lang="en-US" sz="1400" dirty="0"/>
              <a:t>: ~3x # of conformers</a:t>
            </a:r>
          </a:p>
        </p:txBody>
      </p:sp>
    </p:spTree>
    <p:extLst>
      <p:ext uri="{BB962C8B-B14F-4D97-AF65-F5344CB8AC3E}">
        <p14:creationId xmlns:p14="http://schemas.microsoft.com/office/powerpoint/2010/main" val="663749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: Automated Conformational Analysis (XTBDFT)</a:t>
            </a:r>
          </a:p>
        </p:txBody>
      </p:sp>
      <p:sp>
        <p:nvSpPr>
          <p:cNvPr id="44" name="Title 2">
            <a:extLst>
              <a:ext uri="{FF2B5EF4-FFF2-40B4-BE49-F238E27FC236}">
                <a16:creationId xmlns:a16="http://schemas.microsoft.com/office/drawing/2014/main" id="{E4338BA4-96B5-45E8-AC04-A33002C45E19}"/>
              </a:ext>
            </a:extLst>
          </p:cNvPr>
          <p:cNvSpPr txBox="1">
            <a:spLocks/>
          </p:cNvSpPr>
          <p:nvPr/>
        </p:nvSpPr>
        <p:spPr>
          <a:xfrm>
            <a:off x="111313" y="1888993"/>
            <a:ext cx="6074570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>
                <a:solidFill>
                  <a:srgbClr val="53565A">
                    <a:lumMod val="50000"/>
                  </a:srgbClr>
                </a:solidFill>
                <a:latin typeface="Trebuchet MS"/>
              </a:rPr>
              <a:t>XTBDFT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9D17787F-A091-43CF-8C45-C8335779879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2757" y="843016"/>
          <a:ext cx="799110" cy="848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1" name="CS ChemDraw Drawing" r:id="rId8" imgW="612167" imgH="650354" progId="ChemDraw.Document.6.0">
                  <p:embed/>
                </p:oleObj>
              </mc:Choice>
              <mc:Fallback>
                <p:oleObj name="CS ChemDraw Drawing" r:id="rId8" imgW="612167" imgH="650354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9D17787F-A091-43CF-8C45-C83357798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02757" y="843016"/>
                        <a:ext cx="799110" cy="848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4BB62244-8990-4107-9779-A84F255B5145}"/>
              </a:ext>
            </a:extLst>
          </p:cNvPr>
          <p:cNvSpPr txBox="1"/>
          <p:nvPr/>
        </p:nvSpPr>
        <p:spPr>
          <a:xfrm>
            <a:off x="4241304" y="1655116"/>
            <a:ext cx="149030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final structure and energy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C36D4DB7-5F93-4F12-AD48-B38B040B66A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8172" y="691541"/>
            <a:ext cx="991424" cy="963575"/>
          </a:xfrm>
          <a:prstGeom prst="rect">
            <a:avLst/>
          </a:prstGeom>
        </p:spPr>
      </p:pic>
      <p:sp>
        <p:nvSpPr>
          <p:cNvPr id="52" name="Arrow: Chevron 51">
            <a:extLst>
              <a:ext uri="{FF2B5EF4-FFF2-40B4-BE49-F238E27FC236}">
                <a16:creationId xmlns:a16="http://schemas.microsoft.com/office/drawing/2014/main" id="{C652723F-A750-4923-BFD4-5A7216E5F2B8}"/>
              </a:ext>
            </a:extLst>
          </p:cNvPr>
          <p:cNvSpPr/>
          <p:nvPr/>
        </p:nvSpPr>
        <p:spPr>
          <a:xfrm>
            <a:off x="48508" y="2206696"/>
            <a:ext cx="6217859" cy="544370"/>
          </a:xfrm>
          <a:prstGeom prst="chevron">
            <a:avLst>
              <a:gd name="adj" fmla="val 19597"/>
            </a:avLst>
          </a:prstGeom>
          <a:solidFill>
            <a:srgbClr val="53565A">
              <a:lumMod val="50000"/>
            </a:srgbClr>
          </a:solidFill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1050" kern="0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E0018698-857B-442D-933B-AB93EB826E27}"/>
              </a:ext>
            </a:extLst>
          </p:cNvPr>
          <p:cNvSpPr/>
          <p:nvPr/>
        </p:nvSpPr>
        <p:spPr>
          <a:xfrm>
            <a:off x="1533789" y="2247068"/>
            <a:ext cx="1432245" cy="463625"/>
          </a:xfrm>
          <a:prstGeom prst="chevron">
            <a:avLst>
              <a:gd name="adj" fmla="val 19597"/>
            </a:avLst>
          </a:prstGeom>
          <a:solidFill>
            <a:srgbClr val="00A3E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conformer ensemble generation &amp; ranking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CREST and GFN-</a:t>
            </a:r>
            <a:r>
              <a:rPr lang="en-US" sz="750" kern="0" dirty="0" err="1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xTB</a:t>
            </a: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) </a:t>
            </a: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B432F3B3-4F71-4979-8AB1-0051AF7B8CBD}"/>
              </a:ext>
            </a:extLst>
          </p:cNvPr>
          <p:cNvSpPr/>
          <p:nvPr/>
        </p:nvSpPr>
        <p:spPr>
          <a:xfrm>
            <a:off x="2914470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00843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ensemble refinement (NWChem)</a:t>
            </a: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44678A64-EDAC-47F1-85EF-6E420D071729}"/>
              </a:ext>
            </a:extLst>
          </p:cNvPr>
          <p:cNvSpPr/>
          <p:nvPr/>
        </p:nvSpPr>
        <p:spPr>
          <a:xfrm>
            <a:off x="3997532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0033A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minimum final optimization (NWChem)</a:t>
            </a:r>
          </a:p>
        </p:txBody>
      </p:sp>
      <p:sp>
        <p:nvSpPr>
          <p:cNvPr id="56" name="Arrow: Chevron 55">
            <a:extLst>
              <a:ext uri="{FF2B5EF4-FFF2-40B4-BE49-F238E27FC236}">
                <a16:creationId xmlns:a16="http://schemas.microsoft.com/office/drawing/2014/main" id="{79613573-5C15-4451-A260-A803E6CEFB7A}"/>
              </a:ext>
            </a:extLst>
          </p:cNvPr>
          <p:cNvSpPr/>
          <p:nvPr/>
        </p:nvSpPr>
        <p:spPr>
          <a:xfrm>
            <a:off x="5075819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53565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quasi-harmonic frequency corrections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Goodvibes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544CCEC-3287-4C1E-9923-08A6BB3BF480}"/>
              </a:ext>
            </a:extLst>
          </p:cNvPr>
          <p:cNvSpPr txBox="1"/>
          <p:nvPr/>
        </p:nvSpPr>
        <p:spPr>
          <a:xfrm>
            <a:off x="2335018" y="1663999"/>
            <a:ext cx="1218603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input geometry</a:t>
            </a:r>
            <a:endParaRPr lang="en-US" sz="825" dirty="0">
              <a:solidFill>
                <a:srgbClr val="53565A">
                  <a:lumMod val="50000"/>
                </a:srgbClr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25" dirty="0">
                <a:solidFill>
                  <a:srgbClr val="53565A">
                    <a:lumMod val="50000"/>
                  </a:srgbClr>
                </a:solidFill>
              </a:rPr>
              <a:t>(and charge and spin)</a:t>
            </a: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8F5D7034-DF27-424C-9B9E-1BEC274810E2}"/>
              </a:ext>
            </a:extLst>
          </p:cNvPr>
          <p:cNvSpPr/>
          <p:nvPr/>
        </p:nvSpPr>
        <p:spPr>
          <a:xfrm rot="5400000" flipV="1">
            <a:off x="1997499" y="180840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37D4A96C-B768-4C55-89C0-AB2552879352}"/>
              </a:ext>
            </a:extLst>
          </p:cNvPr>
          <p:cNvSpPr/>
          <p:nvPr/>
        </p:nvSpPr>
        <p:spPr>
          <a:xfrm rot="16200000">
            <a:off x="5405331" y="1812782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D4DF8DF-9D5D-4B87-A78B-369B061E2916}"/>
              </a:ext>
            </a:extLst>
          </p:cNvPr>
          <p:cNvSpPr/>
          <p:nvPr/>
        </p:nvSpPr>
        <p:spPr>
          <a:xfrm>
            <a:off x="1627180" y="584847"/>
            <a:ext cx="4558703" cy="1535959"/>
          </a:xfrm>
          <a:prstGeom prst="roundRect">
            <a:avLst/>
          </a:prstGeom>
          <a:noFill/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4" name="Title 2">
            <a:extLst>
              <a:ext uri="{FF2B5EF4-FFF2-40B4-BE49-F238E27FC236}">
                <a16:creationId xmlns:a16="http://schemas.microsoft.com/office/drawing/2014/main" id="{10ED0591-2BC8-4142-BB01-03D0E6350164}"/>
              </a:ext>
            </a:extLst>
          </p:cNvPr>
          <p:cNvSpPr txBox="1">
            <a:spLocks/>
          </p:cNvSpPr>
          <p:nvPr/>
        </p:nvSpPr>
        <p:spPr>
          <a:xfrm>
            <a:off x="3288216" y="554747"/>
            <a:ext cx="1278842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 dirty="0" err="1">
                <a:solidFill>
                  <a:srgbClr val="53565A">
                    <a:lumMod val="50000"/>
                  </a:srgbClr>
                </a:solidFill>
                <a:latin typeface="Trebuchet MS"/>
              </a:rPr>
              <a:t>autoConf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84AAAE55-235A-43B6-912F-B1D8BEA2D056}"/>
              </a:ext>
            </a:extLst>
          </p:cNvPr>
          <p:cNvSpPr/>
          <p:nvPr/>
        </p:nvSpPr>
        <p:spPr>
          <a:xfrm rot="16200000">
            <a:off x="598991" y="287113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3043250-52D0-4364-ACBE-25A7DA9BA460}"/>
              </a:ext>
            </a:extLst>
          </p:cNvPr>
          <p:cNvSpPr txBox="1"/>
          <p:nvPr/>
        </p:nvSpPr>
        <p:spPr>
          <a:xfrm>
            <a:off x="1341357" y="2843358"/>
            <a:ext cx="1322798" cy="450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input reactant geometry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specify reaction coordinat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25" dirty="0">
                <a:solidFill>
                  <a:srgbClr val="53565A">
                    <a:lumMod val="50000"/>
                  </a:srgbClr>
                </a:solidFill>
              </a:rPr>
              <a:t>(and charge and spin)</a:t>
            </a:r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D1ADFBC4-20CD-447F-920B-D17D7BB6CF67}"/>
              </a:ext>
            </a:extLst>
          </p:cNvPr>
          <p:cNvSpPr/>
          <p:nvPr/>
        </p:nvSpPr>
        <p:spPr>
          <a:xfrm rot="5400000" flipV="1">
            <a:off x="5403885" y="286507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7" name="Arrow: Chevron 56">
            <a:extLst>
              <a:ext uri="{FF2B5EF4-FFF2-40B4-BE49-F238E27FC236}">
                <a16:creationId xmlns:a16="http://schemas.microsoft.com/office/drawing/2014/main" id="{381FA11B-08B8-4334-9FB3-63D50D2C1960}"/>
              </a:ext>
            </a:extLst>
          </p:cNvPr>
          <p:cNvSpPr/>
          <p:nvPr/>
        </p:nvSpPr>
        <p:spPr>
          <a:xfrm>
            <a:off x="111312" y="2247068"/>
            <a:ext cx="1480184" cy="463625"/>
          </a:xfrm>
          <a:prstGeom prst="chevron">
            <a:avLst>
              <a:gd name="adj" fmla="val 19597"/>
            </a:avLst>
          </a:prstGeom>
          <a:solidFill>
            <a:srgbClr val="84BD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single-ended reaction coordinate scan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GFN-</a:t>
            </a:r>
            <a:r>
              <a:rPr lang="en-US" sz="750" kern="0" dirty="0" err="1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xTB</a:t>
            </a: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) 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02DF3CE-DDAA-45D8-AE9D-C3E0725CE243}"/>
              </a:ext>
            </a:extLst>
          </p:cNvPr>
          <p:cNvSpPr/>
          <p:nvPr/>
        </p:nvSpPr>
        <p:spPr>
          <a:xfrm>
            <a:off x="48508" y="2839161"/>
            <a:ext cx="6217859" cy="1535959"/>
          </a:xfrm>
          <a:prstGeom prst="roundRect">
            <a:avLst/>
          </a:prstGeom>
          <a:noFill/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2CA61D3-C016-4C3F-9A93-CCF932C9ACBE}"/>
              </a:ext>
            </a:extLst>
          </p:cNvPr>
          <p:cNvSpPr txBox="1"/>
          <p:nvPr/>
        </p:nvSpPr>
        <p:spPr>
          <a:xfrm>
            <a:off x="4155043" y="2840082"/>
            <a:ext cx="149030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final TS structure and energy</a:t>
            </a:r>
          </a:p>
        </p:txBody>
      </p:sp>
      <p:sp>
        <p:nvSpPr>
          <p:cNvPr id="65" name="Title 2">
            <a:extLst>
              <a:ext uri="{FF2B5EF4-FFF2-40B4-BE49-F238E27FC236}">
                <a16:creationId xmlns:a16="http://schemas.microsoft.com/office/drawing/2014/main" id="{C704EE4C-858A-4E4E-8E8C-E9B54E46670F}"/>
              </a:ext>
            </a:extLst>
          </p:cNvPr>
          <p:cNvSpPr txBox="1">
            <a:spLocks/>
          </p:cNvSpPr>
          <p:nvPr/>
        </p:nvSpPr>
        <p:spPr>
          <a:xfrm>
            <a:off x="2461713" y="3975789"/>
            <a:ext cx="1278842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 dirty="0" err="1">
                <a:solidFill>
                  <a:srgbClr val="53565A">
                    <a:lumMod val="50000"/>
                  </a:srgbClr>
                </a:solidFill>
                <a:latin typeface="Trebuchet MS"/>
              </a:rPr>
              <a:t>autoTS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B809C861-9FD3-4A6B-A55A-FB741600133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2574" y="3274415"/>
            <a:ext cx="1088778" cy="1036095"/>
          </a:xfrm>
          <a:prstGeom prst="rect">
            <a:avLst/>
          </a:prstGeom>
        </p:spPr>
      </p:pic>
      <p:graphicFrame>
        <p:nvGraphicFramePr>
          <p:cNvPr id="67" name="Object 66">
            <a:extLst>
              <a:ext uri="{FF2B5EF4-FFF2-40B4-BE49-F238E27FC236}">
                <a16:creationId xmlns:a16="http://schemas.microsoft.com/office/drawing/2014/main" id="{2A1E21CC-0348-4B80-B291-564726D5246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259975" y="3324571"/>
          <a:ext cx="815845" cy="1002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2" name="CS ChemDraw Drawing" r:id="rId12" imgW="860612" imgH="1057016" progId="ChemDraw.Document.6.0">
                  <p:embed/>
                </p:oleObj>
              </mc:Choice>
              <mc:Fallback>
                <p:oleObj name="CS ChemDraw Drawing" r:id="rId12" imgW="860612" imgH="1057016" progId="ChemDraw.Document.6.0">
                  <p:embed/>
                  <p:pic>
                    <p:nvPicPr>
                      <p:cNvPr id="67" name="Object 66">
                        <a:extLst>
                          <a:ext uri="{FF2B5EF4-FFF2-40B4-BE49-F238E27FC236}">
                            <a16:creationId xmlns:a16="http://schemas.microsoft.com/office/drawing/2014/main" id="{2A1E21CC-0348-4B80-B291-564726D52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4259975" y="3324571"/>
                        <a:ext cx="815845" cy="10024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8" name="Object 67">
            <a:extLst>
              <a:ext uri="{FF2B5EF4-FFF2-40B4-BE49-F238E27FC236}">
                <a16:creationId xmlns:a16="http://schemas.microsoft.com/office/drawing/2014/main" id="{B3853251-5809-4227-AA3E-488B8AD6E04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3502" y="3297039"/>
          <a:ext cx="815845" cy="1000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3" name="CS ChemDraw Drawing" r:id="rId14" imgW="860612" imgH="1055582" progId="ChemDraw.Document.6.0">
                  <p:embed/>
                </p:oleObj>
              </mc:Choice>
              <mc:Fallback>
                <p:oleObj name="CS ChemDraw Drawing" r:id="rId14" imgW="860612" imgH="1055582" progId="ChemDraw.Document.6.0">
                  <p:embed/>
                  <p:pic>
                    <p:nvPicPr>
                      <p:cNvPr id="68" name="Object 67">
                        <a:extLst>
                          <a:ext uri="{FF2B5EF4-FFF2-40B4-BE49-F238E27FC236}">
                            <a16:creationId xmlns:a16="http://schemas.microsoft.com/office/drawing/2014/main" id="{B3853251-5809-4227-AA3E-488B8AD6E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463502" y="3297039"/>
                        <a:ext cx="815845" cy="1000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042BA29-4F6C-4B52-B5E2-4FD74914AB50}"/>
              </a:ext>
            </a:extLst>
          </p:cNvPr>
          <p:cNvSpPr txBox="1"/>
          <p:nvPr/>
        </p:nvSpPr>
        <p:spPr>
          <a:xfrm>
            <a:off x="6300808" y="1336260"/>
            <a:ext cx="27946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Automated multi-level conformational search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Built on 3 open-source engines:</a:t>
            </a:r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GFN-</a:t>
            </a:r>
            <a:r>
              <a:rPr lang="en-US" sz="1200" dirty="0" err="1"/>
              <a:t>xTB</a:t>
            </a:r>
            <a:r>
              <a:rPr lang="en-US" sz="1200" dirty="0"/>
              <a:t>/CREST</a:t>
            </a:r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 err="1"/>
              <a:t>NWChem</a:t>
            </a:r>
            <a:endParaRPr lang="en-US" sz="1200" dirty="0"/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 err="1"/>
              <a:t>GoodVibes</a:t>
            </a:r>
            <a:endParaRPr lang="en-US" sz="1200" dirty="0"/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Simplified user input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Lightweight (for facile installation on internet-restricted compute clusters)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14313" indent="-214313" algn="l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BFBAB12-C853-4855-8352-45376A986EF6}"/>
              </a:ext>
            </a:extLst>
          </p:cNvPr>
          <p:cNvSpPr/>
          <p:nvPr/>
        </p:nvSpPr>
        <p:spPr>
          <a:xfrm>
            <a:off x="3025099" y="4660972"/>
            <a:ext cx="225988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Lin, S. </a:t>
            </a:r>
            <a:r>
              <a:rPr lang="en-US" sz="900" i="1" dirty="0" err="1"/>
              <a:t>SoftwareX</a:t>
            </a:r>
            <a:r>
              <a:rPr lang="en-US" sz="900" dirty="0"/>
              <a:t> </a:t>
            </a:r>
            <a:r>
              <a:rPr lang="en-US" sz="900" b="1" dirty="0"/>
              <a:t>2021</a:t>
            </a:r>
            <a:r>
              <a:rPr lang="en-US" sz="900" dirty="0"/>
              <a:t>, </a:t>
            </a:r>
            <a:r>
              <a:rPr lang="en-US" sz="900" i="1" dirty="0"/>
              <a:t>in preparation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30069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500"/>
                            </p:stCondLst>
                            <p:childTnLst>
                              <p:par>
                                <p:cTn id="5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0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58" grpId="0"/>
      <p:bldP spid="59" grpId="0" animBg="1"/>
      <p:bldP spid="60" grpId="0" animBg="1"/>
      <p:bldP spid="61" grpId="0" animBg="1"/>
      <p:bldP spid="64" grpId="0"/>
      <p:bldP spid="46" grpId="0" animBg="1"/>
      <p:bldP spid="47" grpId="0"/>
      <p:bldP spid="50" grpId="0" animBg="1"/>
      <p:bldP spid="57" grpId="0" animBg="1"/>
      <p:bldP spid="62" grpId="0" animBg="1"/>
      <p:bldP spid="63" grpId="0"/>
      <p:bldP spid="6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3660C3E-C319-4E6C-84CC-BD755DB3CB4A}"/>
              </a:ext>
            </a:extLst>
          </p:cNvPr>
          <p:cNvGrpSpPr/>
          <p:nvPr/>
        </p:nvGrpSpPr>
        <p:grpSpPr>
          <a:xfrm>
            <a:off x="120882" y="205983"/>
            <a:ext cx="8606554" cy="4440648"/>
            <a:chOff x="161175" y="274644"/>
            <a:chExt cx="11475405" cy="592086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7781530-CC0A-4238-8B27-C0B4C7FE9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1175" y="441911"/>
              <a:ext cx="11475405" cy="5753597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D92FAE7-64F6-4429-9B61-B30EA6E45B5E}"/>
                </a:ext>
              </a:extLst>
            </p:cNvPr>
            <p:cNvSpPr/>
            <p:nvPr/>
          </p:nvSpPr>
          <p:spPr>
            <a:xfrm>
              <a:off x="8552985" y="274644"/>
              <a:ext cx="2671747" cy="88193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44815" y="22148"/>
            <a:ext cx="8264215" cy="272895"/>
          </a:xfrm>
          <a:prstGeom prst="rect">
            <a:avLst/>
          </a:prstGeom>
        </p:spPr>
        <p:txBody>
          <a:bodyPr vert="horz" lIns="0" tIns="34272" rIns="0" bIns="34272" rtlCol="0" anchor="t">
            <a:noAutofit/>
          </a:bodyPr>
          <a:lstStyle>
            <a:lvl1pPr algn="l" defTabSz="45696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50" dirty="0"/>
              <a:t>D. Technical Review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omputational: First Detailed Reaction Mechanism of Full Sasol Ligan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37B6423-CFC7-4C31-8351-811C9C27B8D8}"/>
              </a:ext>
            </a:extLst>
          </p:cNvPr>
          <p:cNvSpPr txBox="1"/>
          <p:nvPr/>
        </p:nvSpPr>
        <p:spPr>
          <a:xfrm>
            <a:off x="978958" y="3534127"/>
            <a:ext cx="2403050" cy="276999"/>
          </a:xfrm>
          <a:prstGeom prst="rect">
            <a:avLst/>
          </a:prstGeom>
          <a:solidFill>
            <a:srgbClr val="000099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u="sng" dirty="0">
                <a:solidFill>
                  <a:prstClr val="white"/>
                </a:solidFill>
              </a:rPr>
              <a:t>turnover-limiting barriers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3118884-4FCF-4C0B-A711-E7F138505499}"/>
              </a:ext>
            </a:extLst>
          </p:cNvPr>
          <p:cNvCxnSpPr>
            <a:cxnSpLocks/>
          </p:cNvCxnSpPr>
          <p:nvPr/>
        </p:nvCxnSpPr>
        <p:spPr>
          <a:xfrm flipH="1" flipV="1">
            <a:off x="2191215" y="1354872"/>
            <a:ext cx="443261" cy="2179254"/>
          </a:xfrm>
          <a:prstGeom prst="straightConnector1">
            <a:avLst/>
          </a:prstGeom>
          <a:noFill/>
          <a:ln w="12700" cap="flat" cmpd="sng" algn="ctr">
            <a:solidFill>
              <a:srgbClr val="3333AD"/>
            </a:solidFill>
            <a:prstDash val="solid"/>
            <a:tailEnd type="triangle"/>
          </a:ln>
          <a:effectLst/>
        </p:spPr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D4E366DA-62FB-4970-8464-0EF25B290AB8}"/>
              </a:ext>
            </a:extLst>
          </p:cNvPr>
          <p:cNvCxnSpPr>
            <a:cxnSpLocks/>
          </p:cNvCxnSpPr>
          <p:nvPr/>
        </p:nvCxnSpPr>
        <p:spPr>
          <a:xfrm flipV="1">
            <a:off x="2634475" y="1421668"/>
            <a:ext cx="1384922" cy="2112458"/>
          </a:xfrm>
          <a:prstGeom prst="straightConnector1">
            <a:avLst/>
          </a:prstGeom>
          <a:noFill/>
          <a:ln w="12700" cap="flat" cmpd="sng" algn="ctr">
            <a:solidFill>
              <a:srgbClr val="3333AD"/>
            </a:solidFill>
            <a:prstDash val="solid"/>
            <a:tailEnd type="triangle"/>
          </a:ln>
          <a:effectLst/>
        </p:spPr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451395AE-AD14-4304-B3F4-EEB60C5ED65D}"/>
              </a:ext>
            </a:extLst>
          </p:cNvPr>
          <p:cNvSpPr txBox="1"/>
          <p:nvPr/>
        </p:nvSpPr>
        <p:spPr>
          <a:xfrm>
            <a:off x="1112363" y="3810934"/>
            <a:ext cx="2157705" cy="276999"/>
          </a:xfrm>
          <a:prstGeom prst="rect">
            <a:avLst/>
          </a:prstGeom>
          <a:solidFill>
            <a:srgbClr val="008000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u="sng" dirty="0">
                <a:solidFill>
                  <a:prstClr val="white"/>
                </a:solidFill>
              </a:rPr>
              <a:t>product-determining barriers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F816631-1942-4362-8D12-016A6FB3CD1F}"/>
              </a:ext>
            </a:extLst>
          </p:cNvPr>
          <p:cNvCxnSpPr>
            <a:cxnSpLocks/>
            <a:stCxn id="64" idx="3"/>
          </p:cNvCxnSpPr>
          <p:nvPr/>
        </p:nvCxnSpPr>
        <p:spPr>
          <a:xfrm flipV="1">
            <a:off x="3270068" y="2729487"/>
            <a:ext cx="4494363" cy="1219947"/>
          </a:xfrm>
          <a:prstGeom prst="straightConnector1">
            <a:avLst/>
          </a:prstGeom>
          <a:noFill/>
          <a:ln w="12700" cap="flat" cmpd="sng" algn="ctr">
            <a:solidFill>
              <a:srgbClr val="339933"/>
            </a:solidFill>
            <a:prstDash val="solid"/>
            <a:tailEnd type="diamond"/>
          </a:ln>
          <a:effectLst/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D6AA4ABE-2F95-403D-BD42-DA8017E1802E}"/>
              </a:ext>
            </a:extLst>
          </p:cNvPr>
          <p:cNvCxnSpPr>
            <a:cxnSpLocks/>
            <a:stCxn id="64" idx="3"/>
          </p:cNvCxnSpPr>
          <p:nvPr/>
        </p:nvCxnSpPr>
        <p:spPr>
          <a:xfrm flipV="1">
            <a:off x="3270068" y="2489033"/>
            <a:ext cx="2603866" cy="1460401"/>
          </a:xfrm>
          <a:prstGeom prst="straightConnector1">
            <a:avLst/>
          </a:prstGeom>
          <a:noFill/>
          <a:ln w="12700" cap="flat" cmpd="sng" algn="ctr">
            <a:solidFill>
              <a:srgbClr val="339933"/>
            </a:solidFill>
            <a:prstDash val="solid"/>
            <a:tailEnd type="diamond"/>
          </a:ln>
          <a:effectLst/>
        </p:spPr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356D6C6A-C34D-4021-BF5A-AFE6A103317B}"/>
              </a:ext>
            </a:extLst>
          </p:cNvPr>
          <p:cNvSpPr/>
          <p:nvPr/>
        </p:nvSpPr>
        <p:spPr>
          <a:xfrm>
            <a:off x="2538064" y="4676572"/>
            <a:ext cx="462938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Lin, S.; Elanany, M.; Khawaji, M.; Xu, W. </a:t>
            </a:r>
            <a:r>
              <a:rPr lang="en-US" sz="900" i="1" dirty="0"/>
              <a:t>ACS </a:t>
            </a:r>
            <a:r>
              <a:rPr lang="en-US" sz="900" i="1" dirty="0" err="1"/>
              <a:t>Catal</a:t>
            </a:r>
            <a:r>
              <a:rPr lang="en-US" sz="900" i="1" dirty="0"/>
              <a:t>.</a:t>
            </a:r>
            <a:r>
              <a:rPr lang="en-US" sz="900" dirty="0"/>
              <a:t> </a:t>
            </a:r>
            <a:r>
              <a:rPr lang="en-US" sz="900" b="1" dirty="0"/>
              <a:t>2021</a:t>
            </a:r>
            <a:r>
              <a:rPr lang="en-US" sz="900" dirty="0"/>
              <a:t>, </a:t>
            </a:r>
            <a:r>
              <a:rPr lang="en-US" sz="900" i="1" dirty="0"/>
              <a:t>in prepar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C86EDE-A415-4085-8130-4B8FA96B4292}"/>
              </a:ext>
            </a:extLst>
          </p:cNvPr>
          <p:cNvSpPr/>
          <p:nvPr/>
        </p:nvSpPr>
        <p:spPr>
          <a:xfrm>
            <a:off x="716163" y="468209"/>
            <a:ext cx="7471161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50" dirty="0"/>
              <a:t>correct prediction of 1-octene/1-hexene ratio</a:t>
            </a:r>
          </a:p>
        </p:txBody>
      </p:sp>
    </p:spTree>
    <p:extLst>
      <p:ext uri="{BB962C8B-B14F-4D97-AF65-F5344CB8AC3E}">
        <p14:creationId xmlns:p14="http://schemas.microsoft.com/office/powerpoint/2010/main" val="690384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 err="1"/>
              <a:t>boston</a:t>
            </a:r>
            <a:r>
              <a:rPr lang="en-US" dirty="0"/>
              <a:t> downstream research center</a:t>
            </a:r>
          </a:p>
        </p:txBody>
      </p:sp>
      <p:pic>
        <p:nvPicPr>
          <p:cNvPr id="8" name="Picture 6" descr="C:\_LOCAL 170921\AMT Icons - new colors + pop-outs-05.pn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0200" y="843981"/>
            <a:ext cx="5943600" cy="369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730559" y="824170"/>
            <a:ext cx="4397927" cy="3717229"/>
          </a:xfrm>
          <a:prstGeom prst="rect">
            <a:avLst/>
          </a:prstGeom>
          <a:solidFill>
            <a:srgbClr val="FFFFFF">
              <a:alpha val="9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3827982" y="913296"/>
            <a:ext cx="3855720" cy="3589394"/>
            <a:chOff x="4442460" y="990226"/>
            <a:chExt cx="3855720" cy="3589394"/>
          </a:xfrm>
        </p:grpSpPr>
        <p:sp>
          <p:nvSpPr>
            <p:cNvPr id="6" name="Rounded Rectangle 5"/>
            <p:cNvSpPr/>
            <p:nvPr/>
          </p:nvSpPr>
          <p:spPr>
            <a:xfrm>
              <a:off x="4442460" y="990226"/>
              <a:ext cx="3855720" cy="3589394"/>
            </a:xfrm>
            <a:prstGeom prst="roundRect">
              <a:avLst/>
            </a:prstGeom>
            <a:solidFill>
              <a:schemeClr val="bg1"/>
            </a:soli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7" name="Object 6"/>
            <p:cNvGraphicFramePr>
              <a:graphicFrameLocks noChangeAspect="1"/>
            </p:cNvGraphicFramePr>
            <p:nvPr/>
          </p:nvGraphicFramePr>
          <p:xfrm>
            <a:off x="4525963" y="998488"/>
            <a:ext cx="3649662" cy="35702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5862" name="CS ChemDraw Drawing" r:id="rId4" imgW="3896420" imgH="3811208" progId="ChemDraw.Document.6.0">
                    <p:embed/>
                  </p:oleObj>
                </mc:Choice>
                <mc:Fallback>
                  <p:oleObj name="CS ChemDraw Drawing" r:id="rId4" imgW="3896420" imgH="3811208" progId="ChemDraw.Document.6.0">
                    <p:embed/>
                    <p:pic>
                      <p:nvPicPr>
                        <p:cNvPr id="7" name="Object 6"/>
                        <p:cNvPicPr/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4525963" y="998488"/>
                          <a:ext cx="3649662" cy="357028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820F9ED-9549-474A-83A1-ECEDDEF68CCF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91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44815" y="22148"/>
            <a:ext cx="8264215" cy="272895"/>
          </a:xfrm>
          <a:prstGeom prst="rect">
            <a:avLst/>
          </a:prstGeom>
        </p:spPr>
        <p:txBody>
          <a:bodyPr vert="horz" lIns="0" tIns="34272" rIns="0" bIns="34272" rtlCol="0" anchor="t">
            <a:noAutofit/>
          </a:bodyPr>
          <a:lstStyle>
            <a:lvl1pPr algn="l" defTabSz="45696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50" dirty="0"/>
              <a:t>D. Technical Review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: Machine Learning Model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2861F7C-E32A-4D34-866C-35985322C437}"/>
              </a:ext>
            </a:extLst>
          </p:cNvPr>
          <p:cNvSpPr/>
          <p:nvPr/>
        </p:nvSpPr>
        <p:spPr>
          <a:xfrm>
            <a:off x="125354" y="3626880"/>
            <a:ext cx="6561135" cy="73476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0629390E-B35F-44B0-A255-7CED2C6E083A}"/>
              </a:ext>
            </a:extLst>
          </p:cNvPr>
          <p:cNvSpPr txBox="1">
            <a:spLocks/>
          </p:cNvSpPr>
          <p:nvPr/>
        </p:nvSpPr>
        <p:spPr>
          <a:xfrm>
            <a:off x="628650" y="824149"/>
            <a:ext cx="5901714" cy="74395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en-US" sz="3300">
              <a:solidFill>
                <a:sysClr val="windowText" lastClr="000000"/>
              </a:solidFill>
              <a:latin typeface="Calibri Light" panose="020F0302020204030204"/>
            </a:endParaRP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55629472-50C2-4FC8-A839-8AB4D7AAF813}"/>
              </a:ext>
            </a:extLst>
          </p:cNvPr>
          <p:cNvSpPr txBox="1">
            <a:spLocks/>
          </p:cNvSpPr>
          <p:nvPr/>
        </p:nvSpPr>
        <p:spPr>
          <a:xfrm>
            <a:off x="628650" y="1919524"/>
            <a:ext cx="5901717" cy="2442121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210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pic>
        <p:nvPicPr>
          <p:cNvPr id="30" name="Google Shape;143;gd78b0f8f51_1_116">
            <a:extLst>
              <a:ext uri="{FF2B5EF4-FFF2-40B4-BE49-F238E27FC236}">
                <a16:creationId xmlns:a16="http://schemas.microsoft.com/office/drawing/2014/main" id="{C86D265C-21BF-47AA-9E6F-88E58AE93CA6}"/>
              </a:ext>
            </a:extLst>
          </p:cNvPr>
          <p:cNvPicPr preferRelativeResize="0"/>
          <p:nvPr/>
        </p:nvPicPr>
        <p:blipFill rotWithShape="1">
          <a:blip r:embed="rId8" cstate="screen">
            <a:clrChange>
              <a:clrFrom>
                <a:srgbClr val="ECECEC"/>
              </a:clrFrom>
              <a:clrTo>
                <a:srgbClr val="ECECEC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57261"/>
            <a:ext cx="3034081" cy="2213883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7B647FC-49B1-4478-A4E0-DB9B5DA03CA5}"/>
              </a:ext>
            </a:extLst>
          </p:cNvPr>
          <p:cNvSpPr/>
          <p:nvPr/>
        </p:nvSpPr>
        <p:spPr>
          <a:xfrm>
            <a:off x="637506" y="843700"/>
            <a:ext cx="5040506" cy="1099748"/>
          </a:xfrm>
          <a:prstGeom prst="roundRect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75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A74E6CF-4209-429A-9BD6-0E81807CD7F0}"/>
              </a:ext>
            </a:extLst>
          </p:cNvPr>
          <p:cNvSpPr txBox="1"/>
          <p:nvPr/>
        </p:nvSpPr>
        <p:spPr>
          <a:xfrm>
            <a:off x="637507" y="1076497"/>
            <a:ext cx="15183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kern="0" dirty="0">
                <a:solidFill>
                  <a:prstClr val="black"/>
                </a:solidFill>
                <a:latin typeface="Calibri" panose="020F0502020204030204"/>
              </a:rPr>
              <a:t>representative single-descriptor model</a:t>
            </a:r>
          </a:p>
          <a:p>
            <a:pPr algn="ctr">
              <a:defRPr/>
            </a:pPr>
            <a:endParaRPr lang="en-US" sz="900" kern="0" dirty="0">
              <a:solidFill>
                <a:prstClr val="black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en-US" sz="900" kern="0" dirty="0">
                <a:solidFill>
                  <a:prstClr val="black"/>
                </a:solidFill>
                <a:latin typeface="Calibri" panose="020F0502020204030204"/>
              </a:rPr>
              <a:t>(2000+ descriptors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8656E33-ADBC-4A8D-87DE-8D55B519404C}"/>
              </a:ext>
            </a:extLst>
          </p:cNvPr>
          <p:cNvSpPr txBox="1"/>
          <p:nvPr/>
        </p:nvSpPr>
        <p:spPr>
          <a:xfrm>
            <a:off x="4449767" y="1163047"/>
            <a:ext cx="11788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kern="0" dirty="0">
                <a:solidFill>
                  <a:prstClr val="black"/>
                </a:solidFill>
                <a:latin typeface="Calibri" panose="020F0502020204030204"/>
              </a:rPr>
              <a:t>composite 11-descriptor model</a:t>
            </a:r>
          </a:p>
          <a:p>
            <a:pPr algn="ctr">
              <a:defRPr/>
            </a:pPr>
            <a:r>
              <a:rPr lang="en-US" sz="900" kern="0" dirty="0">
                <a:solidFill>
                  <a:prstClr val="black"/>
                </a:solidFill>
                <a:latin typeface="Calibri" panose="020F0502020204030204"/>
              </a:rPr>
              <a:t>(R</a:t>
            </a:r>
            <a:r>
              <a:rPr lang="en-US" sz="900" kern="0" baseline="30000" dirty="0">
                <a:solidFill>
                  <a:prstClr val="black"/>
                </a:solidFill>
                <a:latin typeface="Calibri" panose="020F0502020204030204"/>
              </a:rPr>
              <a:t>2</a:t>
            </a:r>
            <a:r>
              <a:rPr lang="en-US" sz="900" kern="0" dirty="0">
                <a:solidFill>
                  <a:prstClr val="black"/>
                </a:solidFill>
                <a:latin typeface="Calibri" panose="020F0502020204030204"/>
              </a:rPr>
              <a:t> = 0.94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Arrow: Right 34">
                <a:extLst>
                  <a:ext uri="{FF2B5EF4-FFF2-40B4-BE49-F238E27FC236}">
                    <a16:creationId xmlns:a16="http://schemas.microsoft.com/office/drawing/2014/main" id="{D9A14C18-3557-4A81-8CEC-C304DBE75909}"/>
                  </a:ext>
                </a:extLst>
              </p:cNvPr>
              <p:cNvSpPr/>
              <p:nvPr/>
            </p:nvSpPr>
            <p:spPr>
              <a:xfrm>
                <a:off x="2051230" y="871192"/>
                <a:ext cx="2408849" cy="1052375"/>
              </a:xfrm>
              <a:prstGeom prst="rightArrow">
                <a:avLst>
                  <a:gd name="adj1" fmla="val 56736"/>
                  <a:gd name="adj2" fmla="val 42545"/>
                </a:avLst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900" b="1" kern="0" dirty="0">
                    <a:solidFill>
                      <a:prstClr val="white"/>
                    </a:solidFill>
                    <a:latin typeface="Calibri" panose="020F0502020204030204"/>
                  </a:rPr>
                  <a:t>machine learning</a:t>
                </a:r>
              </a:p>
              <a:p>
                <a:pPr algn="ctr">
                  <a:defRPr/>
                </a:pPr>
                <a:endParaRPr lang="en-US" sz="900" b="1" kern="0" dirty="0">
                  <a:solidFill>
                    <a:prstClr val="white"/>
                  </a:solidFill>
                  <a:latin typeface="Calibri" panose="020F0502020204030204"/>
                </a:endParaRPr>
              </a:p>
              <a:p>
                <a:pPr algn="ctr"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Calibri" panose="020F0502020204030204"/>
                  </a:rPr>
                  <a:t>target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900" i="1" kern="0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900" i="1" kern="0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900" i="1" kern="0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  <m:t>𝑜𝑐𝑡𝑒𝑛𝑒</m:t>
                        </m:r>
                        <m:r>
                          <a:rPr lang="en-US" sz="900" i="1" kern="0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  <m:t>+1−</m:t>
                        </m:r>
                        <m:r>
                          <a:rPr lang="en-US" sz="900" i="1" kern="0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  <m:t>h𝑒𝑥𝑒𝑛𝑒</m:t>
                        </m:r>
                      </m:num>
                      <m:den>
                        <m:r>
                          <a:rPr lang="en-US" sz="900" i="1" kern="0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  <m:t>𝑝𝑜𝑙𝑦𝑒𝑡h𝑦𝑙𝑒𝑛𝑒</m:t>
                        </m:r>
                      </m:den>
                    </m:f>
                  </m:oMath>
                </a14:m>
                <a:r>
                  <a:rPr lang="en-US" sz="900" kern="0" dirty="0">
                    <a:solidFill>
                      <a:prstClr val="white"/>
                    </a:solidFill>
                    <a:latin typeface="Calibri" panose="020F0502020204030204"/>
                  </a:rPr>
                  <a:t> productivity</a:t>
                </a:r>
              </a:p>
            </p:txBody>
          </p:sp>
        </mc:Choice>
        <mc:Fallback xmlns="">
          <p:sp>
            <p:nvSpPr>
              <p:cNvPr id="35" name="Arrow: Right 34">
                <a:extLst>
                  <a:ext uri="{FF2B5EF4-FFF2-40B4-BE49-F238E27FC236}">
                    <a16:creationId xmlns:a16="http://schemas.microsoft.com/office/drawing/2014/main" id="{D9A14C18-3557-4A81-8CEC-C304DBE7590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1230" y="871192"/>
                <a:ext cx="2408849" cy="1052375"/>
              </a:xfrm>
              <a:prstGeom prst="rightArrow">
                <a:avLst>
                  <a:gd name="adj1" fmla="val 56736"/>
                  <a:gd name="adj2" fmla="val 42545"/>
                </a:avLst>
              </a:prstGeom>
              <a:blipFill>
                <a:blip r:embed="rId9"/>
                <a:stretch>
                  <a:fillRect/>
                </a:stretch>
              </a:blip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7" name="Rectangle 36">
            <a:extLst>
              <a:ext uri="{FF2B5EF4-FFF2-40B4-BE49-F238E27FC236}">
                <a16:creationId xmlns:a16="http://schemas.microsoft.com/office/drawing/2014/main" id="{1196849A-2B51-4AFB-87E1-9A4755827849}"/>
              </a:ext>
            </a:extLst>
          </p:cNvPr>
          <p:cNvSpPr/>
          <p:nvPr/>
        </p:nvSpPr>
        <p:spPr>
          <a:xfrm>
            <a:off x="764529" y="1052184"/>
            <a:ext cx="1240216" cy="694949"/>
          </a:xfrm>
          <a:prstGeom prst="rect">
            <a:avLst/>
          </a:prstGeom>
          <a:noFill/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750" kern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07644C1-023B-433F-B521-B99D38E0069B}"/>
              </a:ext>
            </a:extLst>
          </p:cNvPr>
          <p:cNvCxnSpPr/>
          <p:nvPr/>
        </p:nvCxnSpPr>
        <p:spPr>
          <a:xfrm flipH="1">
            <a:off x="278066" y="1747132"/>
            <a:ext cx="486464" cy="325352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0107711-0000-49FD-90B6-DB1BB21163C5}"/>
              </a:ext>
            </a:extLst>
          </p:cNvPr>
          <p:cNvCxnSpPr>
            <a:cxnSpLocks/>
          </p:cNvCxnSpPr>
          <p:nvPr/>
        </p:nvCxnSpPr>
        <p:spPr>
          <a:xfrm>
            <a:off x="2004745" y="1747132"/>
            <a:ext cx="951545" cy="325352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8A6017F2-4582-4D8E-86BD-5F1470B38D38}"/>
              </a:ext>
            </a:extLst>
          </p:cNvPr>
          <p:cNvSpPr/>
          <p:nvPr/>
        </p:nvSpPr>
        <p:spPr>
          <a:xfrm>
            <a:off x="4517253" y="1052184"/>
            <a:ext cx="1043881" cy="694949"/>
          </a:xfrm>
          <a:prstGeom prst="rect">
            <a:avLst/>
          </a:prstGeom>
          <a:noFill/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750" kern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7100EF9-01E4-4C41-83EC-41BC1F9EC564}"/>
              </a:ext>
            </a:extLst>
          </p:cNvPr>
          <p:cNvGrpSpPr/>
          <p:nvPr/>
        </p:nvGrpSpPr>
        <p:grpSpPr>
          <a:xfrm>
            <a:off x="3309111" y="1747133"/>
            <a:ext cx="3202195" cy="2604148"/>
            <a:chOff x="4412147" y="2329510"/>
            <a:chExt cx="4269593" cy="3472197"/>
          </a:xfrm>
        </p:grpSpPr>
        <p:pic>
          <p:nvPicPr>
            <p:cNvPr id="31" name="Google Shape;134;gd78b0f8f51_0_1">
              <a:extLst>
                <a:ext uri="{FF2B5EF4-FFF2-40B4-BE49-F238E27FC236}">
                  <a16:creationId xmlns:a16="http://schemas.microsoft.com/office/drawing/2014/main" id="{69007D02-FA6A-4CF8-88B0-7BDFC901FF46}"/>
                </a:ext>
              </a:extLst>
            </p:cNvPr>
            <p:cNvPicPr preferRelativeResize="0"/>
            <p:nvPr/>
          </p:nvPicPr>
          <p:blipFill rotWithShape="1">
            <a:blip r:embed="rId10" cstate="screen">
              <a:clrChange>
                <a:clrFrom>
                  <a:srgbClr val="E5E5E5"/>
                </a:clrFrom>
                <a:clrTo>
                  <a:srgbClr val="E5E5E5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12147" y="2763312"/>
              <a:ext cx="4269593" cy="303839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0BA17D1-578E-4EB2-A0C3-27378BD0C780}"/>
                </a:ext>
              </a:extLst>
            </p:cNvPr>
            <p:cNvSpPr/>
            <p:nvPr/>
          </p:nvSpPr>
          <p:spPr>
            <a:xfrm>
              <a:off x="4768531" y="2763312"/>
              <a:ext cx="3699265" cy="2687101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75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01671B6F-A065-4EA3-AE6B-A28A6519C81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68531" y="2329510"/>
              <a:ext cx="1273755" cy="433802"/>
            </a:xfrm>
            <a:prstGeom prst="line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76C8A1D4-7FA1-4F58-BD16-0FC7EB6D4CFB}"/>
                </a:ext>
              </a:extLst>
            </p:cNvPr>
            <p:cNvCxnSpPr>
              <a:cxnSpLocks/>
            </p:cNvCxnSpPr>
            <p:nvPr/>
          </p:nvCxnSpPr>
          <p:spPr>
            <a:xfrm>
              <a:off x="7414733" y="2329510"/>
              <a:ext cx="1053062" cy="433802"/>
            </a:xfrm>
            <a:prstGeom prst="line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FBD5616-4039-4DF8-AD91-959B2A183235}"/>
              </a:ext>
            </a:extLst>
          </p:cNvPr>
          <p:cNvSpPr txBox="1"/>
          <p:nvPr/>
        </p:nvSpPr>
        <p:spPr>
          <a:xfrm>
            <a:off x="6419061" y="814930"/>
            <a:ext cx="277445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Input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/>
              <a:t>Catalytic data (literature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/>
              <a:t>Catalyst 3D structural descriptor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/>
              <a:t>Quantum chemical descriptor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 err="1"/>
              <a:t>SambVca</a:t>
            </a:r>
            <a:r>
              <a:rPr lang="en-US" sz="1200" dirty="0"/>
              <a:t> descriptor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/>
              <a:t>Mordred descriptors</a:t>
            </a:r>
          </a:p>
          <a:p>
            <a:endParaRPr lang="en-US" sz="1200" dirty="0"/>
          </a:p>
          <a:p>
            <a:r>
              <a:rPr lang="en-US" sz="1200" dirty="0"/>
              <a:t>Data Modelling</a:t>
            </a:r>
          </a:p>
          <a:p>
            <a:r>
              <a:rPr lang="en-US" sz="900" dirty="0"/>
              <a:t>by Worcester Polytechnic Institute</a:t>
            </a:r>
          </a:p>
          <a:p>
            <a:endParaRPr lang="en-US" sz="9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/>
              <a:t>Data transformations and imputation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/>
              <a:t>Stepwise regression model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/>
              <a:t>Autocorrelation of Topological Structure (ATS) descriptors from Mordred are particularly useful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86E04D7-0FE4-4059-9AE7-B60E9A8D4826}"/>
              </a:ext>
            </a:extLst>
          </p:cNvPr>
          <p:cNvSpPr/>
          <p:nvPr/>
        </p:nvSpPr>
        <p:spPr>
          <a:xfrm>
            <a:off x="6811844" y="3785670"/>
            <a:ext cx="1941800" cy="323165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/>
            <a:r>
              <a:rPr lang="en-US" sz="750" b="1" dirty="0">
                <a:solidFill>
                  <a:schemeClr val="bg1"/>
                </a:solidFill>
              </a:rPr>
              <a:t>unpacking the predictive power of ML model</a:t>
            </a:r>
          </a:p>
        </p:txBody>
      </p:sp>
    </p:spTree>
    <p:extLst>
      <p:ext uri="{BB962C8B-B14F-4D97-AF65-F5344CB8AC3E}">
        <p14:creationId xmlns:p14="http://schemas.microsoft.com/office/powerpoint/2010/main" val="1429957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linear </a:t>
            </a:r>
            <a:r>
              <a:rPr lang="el-GR" dirty="0"/>
              <a:t>α</a:t>
            </a:r>
            <a:r>
              <a:rPr lang="en-US" dirty="0"/>
              <a:t>-olefins for LLDP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6" name="CS ChemDraw Drawing" r:id="rId3" imgW="1155013" imgH="1075655" progId="ChemDraw.Document.6.0">
                  <p:embed/>
                </p:oleObj>
              </mc:Choice>
              <mc:Fallback>
                <p:oleObj name="CS ChemDraw Drawing" r:id="rId3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05" y="2824625"/>
            <a:ext cx="536710" cy="31633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1765" y="3339812"/>
            <a:ext cx="555858" cy="32799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5199" y="3563630"/>
            <a:ext cx="536710" cy="316950"/>
          </a:xfrm>
          <a:prstGeom prst="rect">
            <a:avLst/>
          </a:prstGeom>
        </p:spPr>
      </p:pic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281994" y="2034596"/>
          <a:ext cx="430212" cy="277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7" name="CS ChemDraw Drawing" r:id="rId8" imgW="228421" imgH="147316" progId="ChemDraw.Document.6.0">
                  <p:embed/>
                </p:oleObj>
              </mc:Choice>
              <mc:Fallback>
                <p:oleObj name="CS ChemDraw Drawing" r:id="rId8" imgW="228421" imgH="147316" progId="ChemDraw.Document.6.0">
                  <p:embed/>
                  <p:pic>
                    <p:nvPicPr>
                      <p:cNvPr id="14" name="Object 13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81994" y="2034596"/>
                        <a:ext cx="430212" cy="277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481609" y="3057343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6679" y="1683211"/>
            <a:ext cx="1017328" cy="1008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204566" y="3642499"/>
            <a:ext cx="952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-61629" y="2223210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ethylen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194996" y="4007834"/>
            <a:ext cx="9171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1319499" y="2468050"/>
            <a:ext cx="683919" cy="33465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1832508" y="2764899"/>
            <a:ext cx="369541" cy="521246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2573550" y="2747352"/>
            <a:ext cx="37323" cy="756459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753005" y="2177094"/>
            <a:ext cx="1250413" cy="0"/>
          </a:xfrm>
          <a:prstGeom prst="straightConnector1">
            <a:avLst/>
          </a:prstGeom>
          <a:ln w="1587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451764" y="1291905"/>
            <a:ext cx="22561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polyethylene plan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32602" y="3828225"/>
            <a:ext cx="2260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polymer quality increas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284731" y="1461182"/>
            <a:ext cx="2145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LLDP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347170" y="4192404"/>
            <a:ext cx="2612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highest quality plastic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112112" y="2177094"/>
            <a:ext cx="316888" cy="3885"/>
          </a:xfrm>
          <a:prstGeom prst="straightConnector1">
            <a:avLst/>
          </a:prstGeom>
          <a:ln w="1587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Object 30"/>
          <p:cNvGraphicFramePr>
            <a:graphicFrameLocks noChangeAspect="1"/>
          </p:cNvGraphicFramePr>
          <p:nvPr/>
        </p:nvGraphicFramePr>
        <p:xfrm>
          <a:off x="3663712" y="1855262"/>
          <a:ext cx="1573213" cy="1423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8" name="CS ChemDraw Drawing" r:id="rId11" imgW="837783" imgH="758233" progId="ChemDraw.Document.6.0">
                  <p:embed/>
                </p:oleObj>
              </mc:Choice>
              <mc:Fallback>
                <p:oleObj name="CS ChemDraw Drawing" r:id="rId11" imgW="837783" imgH="758233" progId="ChemDraw.Document.6.0">
                  <p:embed/>
                  <p:pic>
                    <p:nvPicPr>
                      <p:cNvPr id="31" name="Object 30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1423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Object 31"/>
          <p:cNvGraphicFramePr>
            <a:graphicFrameLocks noChangeAspect="1"/>
          </p:cNvGraphicFramePr>
          <p:nvPr/>
        </p:nvGraphicFramePr>
        <p:xfrm>
          <a:off x="3664506" y="1855262"/>
          <a:ext cx="1571625" cy="193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9" name="CS ChemDraw Drawing" r:id="rId13" imgW="837783" imgH="1032553" progId="ChemDraw.Document.6.0">
                  <p:embed/>
                </p:oleObj>
              </mc:Choice>
              <mc:Fallback>
                <p:oleObj name="CS ChemDraw Drawing" r:id="rId13" imgW="837783" imgH="1032553" progId="ChemDraw.Document.6.0">
                  <p:embed/>
                  <p:pic>
                    <p:nvPicPr>
                      <p:cNvPr id="32" name="Object 3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664506" y="1855262"/>
                        <a:ext cx="1571625" cy="1936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Object 32"/>
          <p:cNvGraphicFramePr>
            <a:graphicFrameLocks noChangeAspect="1"/>
          </p:cNvGraphicFramePr>
          <p:nvPr/>
        </p:nvGraphicFramePr>
        <p:xfrm>
          <a:off x="3663712" y="1855262"/>
          <a:ext cx="1573213" cy="576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0" name="CS ChemDraw Drawing" r:id="rId15" imgW="837783" imgH="307454" progId="ChemDraw.Document.6.0">
                  <p:embed/>
                </p:oleObj>
              </mc:Choice>
              <mc:Fallback>
                <p:oleObj name="CS ChemDraw Drawing" r:id="rId15" imgW="837783" imgH="307454" progId="ChemDraw.Document.6.0">
                  <p:embed/>
                  <p:pic>
                    <p:nvPicPr>
                      <p:cNvPr id="33" name="Object 32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576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ct 33"/>
          <p:cNvGraphicFramePr>
            <a:graphicFrameLocks noChangeAspect="1"/>
          </p:cNvGraphicFramePr>
          <p:nvPr/>
        </p:nvGraphicFramePr>
        <p:xfrm>
          <a:off x="3663712" y="1855262"/>
          <a:ext cx="1573213" cy="909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1" name="CS ChemDraw Drawing" r:id="rId17" imgW="837783" imgH="483913" progId="ChemDraw.Document.6.0">
                  <p:embed/>
                </p:oleObj>
              </mc:Choice>
              <mc:Fallback>
                <p:oleObj name="CS ChemDraw Drawing" r:id="rId17" imgW="837783" imgH="483913" progId="ChemDraw.Document.6.0">
                  <p:embed/>
                  <p:pic>
                    <p:nvPicPr>
                      <p:cNvPr id="34" name="Object 33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909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A74969F0-DDA2-4F45-B6CE-20E9A5814E90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107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5" grpId="0"/>
      <p:bldP spid="21" grpId="0"/>
      <p:bldP spid="22" grpId="0"/>
      <p:bldP spid="23" grpId="0"/>
      <p:bldP spid="38" grpId="0"/>
      <p:bldP spid="39" grpId="0"/>
      <p:bldP spid="39" grpId="1"/>
      <p:bldP spid="40" grpId="0"/>
      <p:bldP spid="4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114DF45-33BC-4527-9B33-A70F6B6B4E61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LLDP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1" name="CS ChemDraw Drawing" r:id="rId4" imgW="1155013" imgH="1075655" progId="ChemDraw.Document.6.0">
                  <p:embed/>
                </p:oleObj>
              </mc:Choice>
              <mc:Fallback>
                <p:oleObj name="CS ChemDraw Drawing" r:id="rId4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5A1A7FB-A253-4752-BE75-D5CBCDF6907C}"/>
              </a:ext>
            </a:extLst>
          </p:cNvPr>
          <p:cNvGrpSpPr/>
          <p:nvPr/>
        </p:nvGrpSpPr>
        <p:grpSpPr>
          <a:xfrm>
            <a:off x="1303652" y="908044"/>
            <a:ext cx="3254485" cy="3125082"/>
            <a:chOff x="4869720" y="908044"/>
            <a:chExt cx="3254485" cy="3125082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141B3D1-2C39-43C7-B2FD-E72C84B39EF8}"/>
                </a:ext>
              </a:extLst>
            </p:cNvPr>
            <p:cNvGrpSpPr/>
            <p:nvPr/>
          </p:nvGrpSpPr>
          <p:grpSpPr>
            <a:xfrm>
              <a:off x="4869720" y="908044"/>
              <a:ext cx="3254485" cy="2992320"/>
              <a:chOff x="4869720" y="908044"/>
              <a:chExt cx="3254485" cy="2992320"/>
            </a:xfrm>
          </p:grpSpPr>
          <p:pic>
            <p:nvPicPr>
              <p:cNvPr id="28" name="Picture 10" descr="https://encrypted-tbn0.gstatic.com/images?q=tbn%3AANd9GcSr7JQTJTy4KoJM7RJG74Da3vPHvo9zfdZMQsX6rs25xUc6SBB3q6w_b9YnEGTk8wEGAVXXnPA&amp;usqp=CAc">
                <a:extLst>
                  <a:ext uri="{FF2B5EF4-FFF2-40B4-BE49-F238E27FC236}">
                    <a16:creationId xmlns:a16="http://schemas.microsoft.com/office/drawing/2014/main" id="{19686125-8BD3-43FF-86DC-30130B9700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68495" y="1308878"/>
                <a:ext cx="956280" cy="9562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12" descr="http://www.blspolymers.com/images/img-pe-compound-ftc.png">
                <a:extLst>
                  <a:ext uri="{FF2B5EF4-FFF2-40B4-BE49-F238E27FC236}">
                    <a16:creationId xmlns:a16="http://schemas.microsoft.com/office/drawing/2014/main" id="{32C3401F-65ED-4AD1-B25E-725970346B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00838" y="2564494"/>
                <a:ext cx="1335870" cy="13358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18" descr="https://www.hillnmarkes.com/ASSETS/IMAGES/ITEMS/ZOOM/606246.jpg">
                <a:extLst>
                  <a:ext uri="{FF2B5EF4-FFF2-40B4-BE49-F238E27FC236}">
                    <a16:creationId xmlns:a16="http://schemas.microsoft.com/office/drawing/2014/main" id="{072B4882-4D52-4DFF-9819-CA51835CA8E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69720" y="1174256"/>
                <a:ext cx="1335869" cy="13358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26A54597-8FB2-421D-B5A7-6D02AF6BDEA7}"/>
                  </a:ext>
                </a:extLst>
              </p:cNvPr>
              <p:cNvSpPr txBox="1"/>
              <p:nvPr/>
            </p:nvSpPr>
            <p:spPr>
              <a:xfrm>
                <a:off x="5336169" y="908044"/>
                <a:ext cx="5020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tough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0433C32-76BA-434D-B760-038C7CACA3CD}"/>
                  </a:ext>
                </a:extLst>
              </p:cNvPr>
              <p:cNvSpPr txBox="1"/>
              <p:nvPr/>
            </p:nvSpPr>
            <p:spPr>
              <a:xfrm>
                <a:off x="6500838" y="912164"/>
                <a:ext cx="139493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flexible and food-safe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C6A3BAD1-C8A6-4860-B322-BDD3FDBBCA3B}"/>
                  </a:ext>
                </a:extLst>
              </p:cNvPr>
              <p:cNvSpPr txBox="1"/>
              <p:nvPr/>
            </p:nvSpPr>
            <p:spPr>
              <a:xfrm>
                <a:off x="5121134" y="2579692"/>
                <a:ext cx="808235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stretchable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D1B8CA8B-ABD7-4F6C-83CB-289AD0FA462C}"/>
                  </a:ext>
                </a:extLst>
              </p:cNvPr>
              <p:cNvSpPr txBox="1"/>
              <p:nvPr/>
            </p:nvSpPr>
            <p:spPr>
              <a:xfrm>
                <a:off x="6272415" y="2579006"/>
                <a:ext cx="18517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electrical and chemical safety</a:t>
                </a:r>
              </a:p>
            </p:txBody>
          </p:sp>
        </p:grpSp>
        <p:pic>
          <p:nvPicPr>
            <p:cNvPr id="27" name="Picture 20" descr="https://encrypted-tbn0.gstatic.com/images?q=tbn%3AANd9GcTF64ylcdfN1roNYmYw-wDGPzWiciVxBK1uFQ1kERgJAMvEm0U9WmcNuChJmRkr4oCWG350HaGp&amp;usqp=CAc">
              <a:extLst>
                <a:ext uri="{FF2B5EF4-FFF2-40B4-BE49-F238E27FC236}">
                  <a16:creationId xmlns:a16="http://schemas.microsoft.com/office/drawing/2014/main" id="{A10F2806-E26E-4457-90BF-3A15EC8F1F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3471" y="2789822"/>
              <a:ext cx="1338943" cy="124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896306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114DF45-33BC-4527-9B33-A70F6B6B4E61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full range </a:t>
            </a:r>
            <a:r>
              <a:rPr lang="el-GR" dirty="0"/>
              <a:t>α</a:t>
            </a:r>
            <a:r>
              <a:rPr lang="en-US" dirty="0"/>
              <a:t>-olefins processes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4" name="CS ChemDraw Drawing" r:id="rId4" imgW="1155013" imgH="1075655" progId="ChemDraw.Document.6.0">
                  <p:embed/>
                </p:oleObj>
              </mc:Choice>
              <mc:Fallback>
                <p:oleObj name="CS ChemDraw Drawing" r:id="rId4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Content Placeholder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577" y="1358866"/>
            <a:ext cx="4862988" cy="233367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444813" y="3764378"/>
            <a:ext cx="479425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u="sng" dirty="0">
                <a:solidFill>
                  <a:schemeClr val="tx2"/>
                </a:solidFill>
                <a:latin typeface="+mn-lt"/>
              </a:rPr>
              <a:t>existing commercialized full range technologies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Shell Higher Olefin Process (SHOP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Chevron Phillips full-range proces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INEOS proces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974019" y="1878775"/>
            <a:ext cx="1709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+mn-lt"/>
              </a:rPr>
              <a:t>undesired product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123143" y="1897339"/>
            <a:ext cx="1411254" cy="238197"/>
          </a:xfrm>
          <a:prstGeom prst="roundRect">
            <a:avLst/>
          </a:prstGeom>
          <a:solidFill>
            <a:schemeClr val="bg2">
              <a:alpha val="15000"/>
            </a:schemeClr>
          </a:solidFill>
          <a:ln w="1905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2441359" y="2155774"/>
            <a:ext cx="648071" cy="134665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3195281" y="2217726"/>
            <a:ext cx="79899" cy="482627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3702684" y="2272608"/>
            <a:ext cx="46450" cy="530092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4545367" y="2181573"/>
            <a:ext cx="372862" cy="462859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4155669" y="2262008"/>
            <a:ext cx="236798" cy="506037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621792" y="4636008"/>
            <a:ext cx="82895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 err="1"/>
              <a:t>Nexant</a:t>
            </a:r>
            <a:r>
              <a:rPr lang="en-US" dirty="0"/>
              <a:t> report - Developments in LAO </a:t>
            </a:r>
            <a:r>
              <a:rPr lang="en-US" dirty="0" err="1"/>
              <a:t>Comonomer</a:t>
            </a:r>
            <a:r>
              <a:rPr lang="en-US" dirty="0"/>
              <a:t> for Polyethylene - PERP 2012S11</a:t>
            </a:r>
            <a:endParaRPr lang="en-US" sz="900" dirty="0"/>
          </a:p>
        </p:txBody>
      </p:sp>
      <p:sp>
        <p:nvSpPr>
          <p:cNvPr id="19" name="Rounded Rectangle 7">
            <a:extLst>
              <a:ext uri="{FF2B5EF4-FFF2-40B4-BE49-F238E27FC236}">
                <a16:creationId xmlns:a16="http://schemas.microsoft.com/office/drawing/2014/main" id="{E061D489-D165-45F0-8DCB-07DC784AC045}"/>
              </a:ext>
            </a:extLst>
          </p:cNvPr>
          <p:cNvSpPr/>
          <p:nvPr/>
        </p:nvSpPr>
        <p:spPr>
          <a:xfrm>
            <a:off x="6236385" y="593005"/>
            <a:ext cx="1935766" cy="588638"/>
          </a:xfrm>
          <a:prstGeom prst="roundRect">
            <a:avLst/>
          </a:prstGeom>
          <a:solidFill>
            <a:schemeClr val="bg2">
              <a:alpha val="15000"/>
            </a:schemeClr>
          </a:solidFill>
          <a:ln w="1905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How to make 1-octene selectively?</a:t>
            </a:r>
          </a:p>
        </p:txBody>
      </p:sp>
    </p:spTree>
    <p:extLst>
      <p:ext uri="{BB962C8B-B14F-4D97-AF65-F5344CB8AC3E}">
        <p14:creationId xmlns:p14="http://schemas.microsoft.com/office/powerpoint/2010/main" val="1992965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5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3" grpId="0"/>
      <p:bldP spid="8" grpId="0" animBg="1"/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114DF45-33BC-4527-9B33-A70F6B6B4E61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two strategies for more 1-octene</a:t>
            </a:r>
          </a:p>
        </p:txBody>
      </p:sp>
      <p:pic>
        <p:nvPicPr>
          <p:cNvPr id="9" name="Content Placeholder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577" y="1358866"/>
            <a:ext cx="4862988" cy="233367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-30349" y="3764378"/>
            <a:ext cx="4794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latin typeface="+mn-lt"/>
              </a:rPr>
              <a:t>modify a full-range catalyst to skew the product distribut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21792" y="4636008"/>
            <a:ext cx="82895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 err="1"/>
              <a:t>Nexant</a:t>
            </a:r>
            <a:r>
              <a:rPr lang="en-US" dirty="0"/>
              <a:t> report - Developments in LAO </a:t>
            </a:r>
            <a:r>
              <a:rPr lang="en-US" dirty="0" err="1"/>
              <a:t>Comonomer</a:t>
            </a:r>
            <a:r>
              <a:rPr lang="en-US" dirty="0"/>
              <a:t> for Polyethylene - PERP 2012S11</a:t>
            </a:r>
            <a:endParaRPr lang="en-US" sz="9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19AF83C-3669-4449-8928-388D7A751E18}"/>
              </a:ext>
            </a:extLst>
          </p:cNvPr>
          <p:cNvSpPr/>
          <p:nvPr/>
        </p:nvSpPr>
        <p:spPr>
          <a:xfrm>
            <a:off x="1541570" y="1573675"/>
            <a:ext cx="2683189" cy="1590675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904C3918-2A55-4AA7-845D-47A69005D50A}"/>
              </a:ext>
            </a:extLst>
          </p:cNvPr>
          <p:cNvSpPr txBox="1">
            <a:spLocks/>
          </p:cNvSpPr>
          <p:nvPr/>
        </p:nvSpPr>
        <p:spPr>
          <a:xfrm>
            <a:off x="1" y="668863"/>
            <a:ext cx="4581840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dirty="0">
                <a:solidFill>
                  <a:schemeClr val="accent5"/>
                </a:solidFill>
              </a:rPr>
              <a:t>confining full-range catalysts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252578E0-CEA2-4BC5-8CEC-C7F2B9A36715}"/>
              </a:ext>
            </a:extLst>
          </p:cNvPr>
          <p:cNvSpPr txBox="1">
            <a:spLocks/>
          </p:cNvSpPr>
          <p:nvPr/>
        </p:nvSpPr>
        <p:spPr>
          <a:xfrm>
            <a:off x="4572000" y="668863"/>
            <a:ext cx="4571999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dirty="0">
                <a:solidFill>
                  <a:schemeClr val="accent5"/>
                </a:solidFill>
              </a:rPr>
              <a:t>selective ethylene tetramerization</a:t>
            </a:r>
          </a:p>
        </p:txBody>
      </p:sp>
      <p:graphicFrame>
        <p:nvGraphicFramePr>
          <p:cNvPr id="25" name="Object 24">
            <a:extLst>
              <a:ext uri="{FF2B5EF4-FFF2-40B4-BE49-F238E27FC236}">
                <a16:creationId xmlns:a16="http://schemas.microsoft.com/office/drawing/2014/main" id="{F57DAEC4-149F-42C0-9AD2-15CA1B2363F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74489934"/>
              </p:ext>
            </p:extLst>
          </p:nvPr>
        </p:nvGraphicFramePr>
        <p:xfrm>
          <a:off x="5398261" y="3307361"/>
          <a:ext cx="1911350" cy="1317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1" name="CS ChemDraw Drawing" r:id="rId5" imgW="3056606" imgH="2104355" progId="ChemDraw.Document.6.0">
                  <p:embed/>
                </p:oleObj>
              </mc:Choice>
              <mc:Fallback>
                <p:oleObj name="CS ChemDraw Drawing" r:id="rId5" imgW="3056606" imgH="2104355" progId="ChemDraw.Document.6.0">
                  <p:embed/>
                  <p:pic>
                    <p:nvPicPr>
                      <p:cNvPr id="112" name="Object 111">
                        <a:extLst>
                          <a:ext uri="{FF2B5EF4-FFF2-40B4-BE49-F238E27FC236}">
                            <a16:creationId xmlns:a16="http://schemas.microsoft.com/office/drawing/2014/main" id="{A5B9CBB3-A371-4F19-BEBE-697509694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98261" y="3307361"/>
                        <a:ext cx="1911350" cy="1317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2" name="Object 71">
            <a:extLst>
              <a:ext uri="{FF2B5EF4-FFF2-40B4-BE49-F238E27FC236}">
                <a16:creationId xmlns:a16="http://schemas.microsoft.com/office/drawing/2014/main" id="{4D8D50A4-21F7-41F4-A815-53B34854511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06780785"/>
              </p:ext>
            </p:extLst>
          </p:nvPr>
        </p:nvGraphicFramePr>
        <p:xfrm>
          <a:off x="7528384" y="1163563"/>
          <a:ext cx="960485" cy="700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2" name="CS ChemDraw Drawing" r:id="rId7" imgW="1535819" imgH="1119724" progId="ChemDraw.Document.6.0">
                  <p:embed/>
                </p:oleObj>
              </mc:Choice>
              <mc:Fallback>
                <p:oleObj name="CS ChemDraw Drawing" r:id="rId7" imgW="1535819" imgH="1119724" progId="ChemDraw.Document.6.0">
                  <p:embed/>
                  <p:pic>
                    <p:nvPicPr>
                      <p:cNvPr id="111" name="Object 110">
                        <a:extLst>
                          <a:ext uri="{FF2B5EF4-FFF2-40B4-BE49-F238E27FC236}">
                            <a16:creationId xmlns:a16="http://schemas.microsoft.com/office/drawing/2014/main" id="{F78C4E17-45AD-4436-BBEE-940E0ABEFF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528384" y="1163563"/>
                        <a:ext cx="960485" cy="700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" name="Object 72">
            <a:extLst>
              <a:ext uri="{FF2B5EF4-FFF2-40B4-BE49-F238E27FC236}">
                <a16:creationId xmlns:a16="http://schemas.microsoft.com/office/drawing/2014/main" id="{EB4A1AE5-D433-412A-8F94-BCFEC34498B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9502875"/>
              </p:ext>
            </p:extLst>
          </p:nvPr>
        </p:nvGraphicFramePr>
        <p:xfrm>
          <a:off x="7890644" y="3638501"/>
          <a:ext cx="769779" cy="7310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3" name="CS ChemDraw Drawing" r:id="rId9" imgW="1231019" imgH="1168977" progId="ChemDraw.Document.6.0">
                  <p:embed/>
                </p:oleObj>
              </mc:Choice>
              <mc:Fallback>
                <p:oleObj name="CS ChemDraw Drawing" r:id="rId9" imgW="1231019" imgH="1168977" progId="ChemDraw.Document.6.0">
                  <p:embed/>
                  <p:pic>
                    <p:nvPicPr>
                      <p:cNvPr id="113" name="Object 112">
                        <a:extLst>
                          <a:ext uri="{FF2B5EF4-FFF2-40B4-BE49-F238E27FC236}">
                            <a16:creationId xmlns:a16="http://schemas.microsoft.com/office/drawing/2014/main" id="{A9E59F21-65E0-462B-8B31-B93AA939D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890644" y="3638501"/>
                        <a:ext cx="769779" cy="7310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CB3957F7-2B7D-4916-A01D-2158A0F54CCB}"/>
              </a:ext>
            </a:extLst>
          </p:cNvPr>
          <p:cNvGrpSpPr/>
          <p:nvPr/>
        </p:nvGrpSpPr>
        <p:grpSpPr>
          <a:xfrm>
            <a:off x="5245295" y="1576711"/>
            <a:ext cx="3165960" cy="2751975"/>
            <a:chOff x="5245295" y="1576711"/>
            <a:chExt cx="3165960" cy="275197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5371A23-96A9-460E-8603-F3CFAD3C240B}"/>
                </a:ext>
              </a:extLst>
            </p:cNvPr>
            <p:cNvGrpSpPr/>
            <p:nvPr/>
          </p:nvGrpSpPr>
          <p:grpSpPr>
            <a:xfrm rot="175428" flipH="1">
              <a:off x="5245295" y="3000095"/>
              <a:ext cx="2060800" cy="1328591"/>
              <a:chOff x="7738720" y="747330"/>
              <a:chExt cx="4588537" cy="3114807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C69A7279-33CC-417C-B549-CBAE3EFA0A5B}"/>
                  </a:ext>
                </a:extLst>
              </p:cNvPr>
              <p:cNvGrpSpPr/>
              <p:nvPr/>
            </p:nvGrpSpPr>
            <p:grpSpPr>
              <a:xfrm>
                <a:off x="7738720" y="2668766"/>
                <a:ext cx="1762424" cy="1193371"/>
                <a:chOff x="1331504" y="1775528"/>
                <a:chExt cx="1762424" cy="1193371"/>
              </a:xfrm>
            </p:grpSpPr>
            <p:pic>
              <p:nvPicPr>
                <p:cNvPr id="39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E075A271-8827-4C6D-AB94-DF7C8C39624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331504" y="25075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0" name="Picture 39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DD9C81B8-A3C0-4AE5-82D3-D2F66287C5D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686067" y="22461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1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0918CE06-D7B1-4A0A-ABD9-6B3F07D7943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040630" y="20056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2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1BDBFD0E-B293-4DC3-8145-C965BAB18EF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384802" y="17755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C6B895FB-971C-4CD8-AC5A-C4F661254BE7}"/>
                  </a:ext>
                </a:extLst>
              </p:cNvPr>
              <p:cNvGrpSpPr/>
              <p:nvPr/>
            </p:nvGrpSpPr>
            <p:grpSpPr>
              <a:xfrm>
                <a:off x="9146581" y="1705535"/>
                <a:ext cx="1762424" cy="1193371"/>
                <a:chOff x="1483904" y="1927928"/>
                <a:chExt cx="1762424" cy="1193371"/>
              </a:xfrm>
            </p:grpSpPr>
            <p:pic>
              <p:nvPicPr>
                <p:cNvPr id="35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E6FD4B6A-8E3F-4F1D-95AF-BCD0543288B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6" name="Picture 35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F3F03535-0E98-4D85-8EDE-F791992A3AC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7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80FCDA4-55BC-4A70-8F06-A83E35B0D46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8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B7ECB3A-D0D9-4449-B24C-F879870E62F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5D914FBF-A9A3-4CA9-AEA5-E0198F6ACE4B}"/>
                  </a:ext>
                </a:extLst>
              </p:cNvPr>
              <p:cNvGrpSpPr/>
              <p:nvPr/>
            </p:nvGrpSpPr>
            <p:grpSpPr>
              <a:xfrm>
                <a:off x="10564833" y="747330"/>
                <a:ext cx="1762424" cy="1193371"/>
                <a:chOff x="1483904" y="1927928"/>
                <a:chExt cx="1762424" cy="1193371"/>
              </a:xfrm>
            </p:grpSpPr>
            <p:pic>
              <p:nvPicPr>
                <p:cNvPr id="31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64B7F893-9F60-4A76-90DC-0F5E35A1081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2" name="Picture 31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3C58D746-BC00-40D7-AC6C-6390A1E3F8E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3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9404A763-0AB1-4B8E-9F1C-55664027D2F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4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FF3E6D68-0E83-41CB-BCE8-3D8A286F470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96A016B9-AA94-4397-AC9D-609E1091DBDB}"/>
                </a:ext>
              </a:extLst>
            </p:cNvPr>
            <p:cNvGrpSpPr/>
            <p:nvPr/>
          </p:nvGrpSpPr>
          <p:grpSpPr>
            <a:xfrm rot="21213820">
              <a:off x="7482823" y="3198148"/>
              <a:ext cx="928432" cy="768000"/>
              <a:chOff x="7247491" y="3659462"/>
              <a:chExt cx="1628047" cy="1418013"/>
            </a:xfrm>
          </p:grpSpPr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BB48F062-D5AB-4C03-9D46-170EB673FF45}"/>
                  </a:ext>
                </a:extLst>
              </p:cNvPr>
              <p:cNvGrpSpPr/>
              <p:nvPr/>
            </p:nvGrpSpPr>
            <p:grpSpPr>
              <a:xfrm>
                <a:off x="7247491" y="3659462"/>
                <a:ext cx="1388001" cy="939842"/>
                <a:chOff x="1483904" y="1927928"/>
                <a:chExt cx="1762424" cy="1193371"/>
              </a:xfrm>
            </p:grpSpPr>
            <p:pic>
              <p:nvPicPr>
                <p:cNvPr id="55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B8E0AB4F-2966-462D-9314-856FF3009ED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6" name="Picture 55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779173E2-B8AC-4827-ACE7-BEF7C3C4D71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7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E78EF7E-46FB-4946-97F5-022D85BC478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8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551A351F-CAE0-4F4D-8667-017C98BDA7C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87D234AE-3012-46C3-AD40-728A9E8D1C98}"/>
                  </a:ext>
                </a:extLst>
              </p:cNvPr>
              <p:cNvGrpSpPr/>
              <p:nvPr/>
            </p:nvGrpSpPr>
            <p:grpSpPr>
              <a:xfrm>
                <a:off x="7367514" y="3903310"/>
                <a:ext cx="1388001" cy="939842"/>
                <a:chOff x="1483904" y="1927928"/>
                <a:chExt cx="1762424" cy="1193371"/>
              </a:xfrm>
            </p:grpSpPr>
            <p:pic>
              <p:nvPicPr>
                <p:cNvPr id="51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FD45A37E-342B-40C6-ACC7-7402006980C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2" name="Picture 51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01E03924-139A-49A7-A9F7-685E306CF27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3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E883BA69-3126-4E4F-BDAB-E8BD094DDEB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4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CF110481-8CBD-4716-9903-8F7D561D11B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FBB6DC8D-901E-46F1-B81F-87C6975E7502}"/>
                  </a:ext>
                </a:extLst>
              </p:cNvPr>
              <p:cNvGrpSpPr/>
              <p:nvPr/>
            </p:nvGrpSpPr>
            <p:grpSpPr>
              <a:xfrm>
                <a:off x="7487537" y="4137633"/>
                <a:ext cx="1388001" cy="939842"/>
                <a:chOff x="1483904" y="1927928"/>
                <a:chExt cx="1762424" cy="1193371"/>
              </a:xfrm>
            </p:grpSpPr>
            <p:pic>
              <p:nvPicPr>
                <p:cNvPr id="47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5D9E6DF-E65A-4EC7-A4E1-62F4C66E4E4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8" name="Picture 47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5CCBAFA-B844-4905-A381-E56B8F0EADF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9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EB1FD141-96FF-4C2A-8282-B713ECBFB4A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0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56E712F-E4DE-4390-87B2-144C060E173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CB57B6A-E753-48C9-B033-D6B44903A989}"/>
                </a:ext>
              </a:extLst>
            </p:cNvPr>
            <p:cNvGrpSpPr/>
            <p:nvPr/>
          </p:nvGrpSpPr>
          <p:grpSpPr>
            <a:xfrm>
              <a:off x="6146378" y="1576711"/>
              <a:ext cx="1480781" cy="1079725"/>
              <a:chOff x="3356537" y="997973"/>
              <a:chExt cx="2596619" cy="1993572"/>
            </a:xfrm>
          </p:grpSpPr>
          <p:pic>
            <p:nvPicPr>
              <p:cNvPr id="60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E95CACE3-3D4E-42B3-847F-8A8A8E52FE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989780">
                <a:off x="3579507" y="1851236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" name="Picture 60" descr="Magnetic bar icon isometric style Royalty Free Vector Image">
                <a:extLst>
                  <a:ext uri="{FF2B5EF4-FFF2-40B4-BE49-F238E27FC236}">
                    <a16:creationId xmlns:a16="http://schemas.microsoft.com/office/drawing/2014/main" id="{161815DD-DBD2-403B-A9DF-60C9D2F5AA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356537" y="1384970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95964FD9-1BFC-4AA6-94A5-A794716509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284764">
                <a:off x="4137981" y="1457322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3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1AF12FB1-455F-466D-9649-D4E097001E9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950802">
                <a:off x="4400386" y="997973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4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12C9BA85-1930-4814-A247-87C3B2D2D06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76868">
                <a:off x="4031133" y="2181724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5" name="Picture 64" descr="Magnetic bar icon isometric style Royalty Free Vector Image">
                <a:extLst>
                  <a:ext uri="{FF2B5EF4-FFF2-40B4-BE49-F238E27FC236}">
                    <a16:creationId xmlns:a16="http://schemas.microsoft.com/office/drawing/2014/main" id="{967BB75F-BAD6-4840-868D-1AA646BEF03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483722">
                <a:off x="4688649" y="1932122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6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3B520F56-B935-4FC1-B35C-704FFC1BE50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1088360">
                <a:off x="4643333" y="2628179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7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0A1BEF94-B559-481C-B177-A0FDB28F453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271090">
                <a:off x="4693170" y="1202549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8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78D3073B-F372-4AD6-ACD7-320D338C7B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1717097">
                <a:off x="5343401" y="2104730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9" name="Picture 68" descr="Magnetic bar icon isometric style Royalty Free Vector Image">
                <a:extLst>
                  <a:ext uri="{FF2B5EF4-FFF2-40B4-BE49-F238E27FC236}">
                    <a16:creationId xmlns:a16="http://schemas.microsoft.com/office/drawing/2014/main" id="{9AC0F626-6BB8-4F4B-AD7A-59CDFBF8C35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482107">
                <a:off x="5268903" y="1234949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0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176985E9-A3B0-4F8C-97E6-FF543CB5B30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285319">
                <a:off x="5394682" y="1683671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1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0DB44638-0942-4F90-9D3B-3AF57F5633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1323555">
                <a:off x="3898839" y="2607227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74" name="Arrow: Bent 73">
              <a:extLst>
                <a:ext uri="{FF2B5EF4-FFF2-40B4-BE49-F238E27FC236}">
                  <a16:creationId xmlns:a16="http://schemas.microsoft.com/office/drawing/2014/main" id="{3D0ED567-C691-49C6-A9A3-0676834D1996}"/>
                </a:ext>
              </a:extLst>
            </p:cNvPr>
            <p:cNvSpPr/>
            <p:nvPr/>
          </p:nvSpPr>
          <p:spPr>
            <a:xfrm rot="10800000">
              <a:off x="6462624" y="2722950"/>
              <a:ext cx="424145" cy="831317"/>
            </a:xfrm>
            <a:prstGeom prst="bentArrow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5" name="Arrow: Bent 74">
              <a:extLst>
                <a:ext uri="{FF2B5EF4-FFF2-40B4-BE49-F238E27FC236}">
                  <a16:creationId xmlns:a16="http://schemas.microsoft.com/office/drawing/2014/main" id="{BBF5745F-A909-4C89-B14B-87D2F0B30D4F}"/>
                </a:ext>
              </a:extLst>
            </p:cNvPr>
            <p:cNvSpPr/>
            <p:nvPr/>
          </p:nvSpPr>
          <p:spPr>
            <a:xfrm rot="10800000" flipH="1">
              <a:off x="7066149" y="2722546"/>
              <a:ext cx="424145" cy="831317"/>
            </a:xfrm>
            <a:prstGeom prst="bentArrow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197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75000" y="7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6.17284E-7 L -0.07812 -0.00247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06" y="-1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iagram&#10;&#10;Description automatically generated">
            <a:extLst>
              <a:ext uri="{FF2B5EF4-FFF2-40B4-BE49-F238E27FC236}">
                <a16:creationId xmlns:a16="http://schemas.microsoft.com/office/drawing/2014/main" id="{567D409B-C3B3-4CD8-9215-F11B4DF7F1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8455" y="2480245"/>
            <a:ext cx="1543050" cy="20574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A114DF45-33BC-4527-9B33-A70F6B6B4E61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confining full-range catalysts</a:t>
            </a:r>
          </a:p>
        </p:txBody>
      </p:sp>
      <p:pic>
        <p:nvPicPr>
          <p:cNvPr id="9" name="Content Placeholder 8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119" y="1617345"/>
            <a:ext cx="3977640" cy="1908810"/>
          </a:xfrm>
          <a:prstGeom prst="rect">
            <a:avLst/>
          </a:prstGeom>
          <a:noFill/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19AF83C-3669-4449-8928-388D7A751E18}"/>
              </a:ext>
            </a:extLst>
          </p:cNvPr>
          <p:cNvSpPr/>
          <p:nvPr/>
        </p:nvSpPr>
        <p:spPr>
          <a:xfrm>
            <a:off x="1520199" y="1699893"/>
            <a:ext cx="2606989" cy="1391980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904C3918-2A55-4AA7-845D-47A69005D50A}"/>
              </a:ext>
            </a:extLst>
          </p:cNvPr>
          <p:cNvSpPr txBox="1">
            <a:spLocks/>
          </p:cNvSpPr>
          <p:nvPr/>
        </p:nvSpPr>
        <p:spPr>
          <a:xfrm>
            <a:off x="4324882" y="605855"/>
            <a:ext cx="4209834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65506" y="1792651"/>
            <a:ext cx="25163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+mn-lt"/>
              </a:rPr>
              <a:t>confine full-range catalyst to cut off larger product distribution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997731FB-4B31-4299-89D6-ECBF3F7FA28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572000" y="942313"/>
          <a:ext cx="2662237" cy="1212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CS ChemDraw Drawing" r:id="rId6" imgW="2661800" imgH="1212576" progId="ChemDraw.Document.6.0">
                  <p:embed/>
                </p:oleObj>
              </mc:Choice>
              <mc:Fallback>
                <p:oleObj name="CS ChemDraw Drawing" r:id="rId6" imgW="2661800" imgH="1212576" progId="ChemDraw.Document.6.0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997731FB-4B31-4299-89D6-ECBF3F7FA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72000" y="942313"/>
                        <a:ext cx="2662237" cy="1212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Title 2">
            <a:extLst>
              <a:ext uri="{FF2B5EF4-FFF2-40B4-BE49-F238E27FC236}">
                <a16:creationId xmlns:a16="http://schemas.microsoft.com/office/drawing/2014/main" id="{80A26DF4-E551-4CAF-894D-AD799571404B}"/>
              </a:ext>
            </a:extLst>
          </p:cNvPr>
          <p:cNvSpPr txBox="1">
            <a:spLocks/>
          </p:cNvSpPr>
          <p:nvPr/>
        </p:nvSpPr>
        <p:spPr>
          <a:xfrm>
            <a:off x="3952876" y="566571"/>
            <a:ext cx="4581840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dirty="0">
                <a:solidFill>
                  <a:schemeClr val="accent5"/>
                </a:solidFill>
              </a:rPr>
              <a:t>pyridyl </a:t>
            </a:r>
            <a:r>
              <a:rPr lang="en-US" dirty="0" err="1">
                <a:solidFill>
                  <a:schemeClr val="accent5"/>
                </a:solidFill>
              </a:rPr>
              <a:t>diimine</a:t>
            </a:r>
            <a:r>
              <a:rPr lang="en-US" dirty="0">
                <a:solidFill>
                  <a:schemeClr val="accent5"/>
                </a:solidFill>
              </a:rPr>
              <a:t> (PDI) catalyst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ED37FD1-7867-474C-930A-C6369CD54718}"/>
              </a:ext>
            </a:extLst>
          </p:cNvPr>
          <p:cNvSpPr/>
          <p:nvPr/>
        </p:nvSpPr>
        <p:spPr>
          <a:xfrm>
            <a:off x="5332780" y="2067268"/>
            <a:ext cx="290047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dirty="0"/>
              <a:t>Small, B. L. </a:t>
            </a:r>
            <a:r>
              <a:rPr lang="en-GB" i="1" dirty="0"/>
              <a:t>Acc. Chem. Res. </a:t>
            </a:r>
            <a:r>
              <a:rPr lang="en-GB" b="1" dirty="0"/>
              <a:t>2015</a:t>
            </a:r>
            <a:r>
              <a:rPr lang="en-GB" dirty="0"/>
              <a:t>, </a:t>
            </a:r>
            <a:r>
              <a:rPr lang="en-GB" i="1" dirty="0"/>
              <a:t>48</a:t>
            </a:r>
            <a:r>
              <a:rPr lang="en-GB" dirty="0"/>
              <a:t>, 2599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BF70BD-28D8-4F36-BBD0-1804D67C1E0B}"/>
              </a:ext>
            </a:extLst>
          </p:cNvPr>
          <p:cNvSpPr txBox="1"/>
          <p:nvPr/>
        </p:nvSpPr>
        <p:spPr>
          <a:xfrm>
            <a:off x="6545759" y="1066819"/>
            <a:ext cx="23759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ighly active</a:t>
            </a:r>
          </a:p>
          <a:p>
            <a:r>
              <a:rPr lang="en-US" sz="1200" dirty="0"/>
              <a:t>Schulz-Flory product distribution</a:t>
            </a:r>
          </a:p>
          <a:p>
            <a:r>
              <a:rPr lang="en-US" sz="1200" dirty="0"/>
              <a:t>troublesome polymer byproduct</a:t>
            </a:r>
          </a:p>
        </p:txBody>
      </p:sp>
      <p:sp>
        <p:nvSpPr>
          <p:cNvPr id="78" name="Title 2">
            <a:extLst>
              <a:ext uri="{FF2B5EF4-FFF2-40B4-BE49-F238E27FC236}">
                <a16:creationId xmlns:a16="http://schemas.microsoft.com/office/drawing/2014/main" id="{84574B83-F258-45F1-8951-3A790C481EFA}"/>
              </a:ext>
            </a:extLst>
          </p:cNvPr>
          <p:cNvSpPr txBox="1">
            <a:spLocks/>
          </p:cNvSpPr>
          <p:nvPr/>
        </p:nvSpPr>
        <p:spPr>
          <a:xfrm>
            <a:off x="3518140" y="2689875"/>
            <a:ext cx="4581840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dirty="0">
                <a:solidFill>
                  <a:schemeClr val="accent5"/>
                </a:solidFill>
              </a:rPr>
              <a:t>proposed confinemen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CBA3143-4D66-44BF-ACDC-71C291021CF2}"/>
              </a:ext>
            </a:extLst>
          </p:cNvPr>
          <p:cNvSpPr txBox="1"/>
          <p:nvPr/>
        </p:nvSpPr>
        <p:spPr>
          <a:xfrm>
            <a:off x="4945380" y="3545927"/>
            <a:ext cx="21960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chain-pore steric interactions</a:t>
            </a:r>
          </a:p>
        </p:txBody>
      </p:sp>
    </p:spTree>
    <p:extLst>
      <p:ext uri="{BB962C8B-B14F-4D97-AF65-F5344CB8AC3E}">
        <p14:creationId xmlns:p14="http://schemas.microsoft.com/office/powerpoint/2010/main" val="3514603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  <p:bldP spid="77" grpId="0"/>
      <p:bldP spid="4" grpId="0"/>
      <p:bldP spid="78" grpId="0"/>
      <p:bldP spid="8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iagram&#10;&#10;Description automatically generated">
            <a:extLst>
              <a:ext uri="{FF2B5EF4-FFF2-40B4-BE49-F238E27FC236}">
                <a16:creationId xmlns:a16="http://schemas.microsoft.com/office/drawing/2014/main" id="{567D409B-C3B3-4CD8-9215-F11B4DF7F1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8455" y="2480245"/>
            <a:ext cx="1543050" cy="20574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830007A-491E-45B3-9730-646E1400E859}"/>
              </a:ext>
            </a:extLst>
          </p:cNvPr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4" t="8775" r="30699" b="6401"/>
          <a:stretch/>
        </p:blipFill>
        <p:spPr bwMode="auto">
          <a:xfrm>
            <a:off x="6188054" y="2466726"/>
            <a:ext cx="2955946" cy="2057399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4381B715-B107-46C4-A11A-63A44503537E}"/>
              </a:ext>
            </a:extLst>
          </p:cNvPr>
          <p:cNvGraphicFramePr>
            <a:graphicFrameLocks noGrp="1"/>
          </p:cNvGraphicFramePr>
          <p:nvPr/>
        </p:nvGraphicFramePr>
        <p:xfrm>
          <a:off x="66675" y="2451697"/>
          <a:ext cx="74676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3975">
                  <a:extLst>
                    <a:ext uri="{9D8B030D-6E8A-4147-A177-3AD203B41FA5}">
                      <a16:colId xmlns:a16="http://schemas.microsoft.com/office/drawing/2014/main" val="4048324316"/>
                    </a:ext>
                  </a:extLst>
                </a:gridCol>
                <a:gridCol w="1165225">
                  <a:extLst>
                    <a:ext uri="{9D8B030D-6E8A-4147-A177-3AD203B41FA5}">
                      <a16:colId xmlns:a16="http://schemas.microsoft.com/office/drawing/2014/main" val="2250057029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3768824445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1721832449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820590278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417100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surface pores</a:t>
                      </a:r>
                    </a:p>
                  </a:txBody>
                  <a:tcPr anchor="ctr">
                    <a:solidFill>
                      <a:srgbClr val="EDF4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rgbClr val="EDF4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rgbClr val="EDF4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rgbClr val="EDF4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rgbClr val="EDF4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rgbClr val="ED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853707"/>
                  </a:ext>
                </a:extLst>
              </a:tr>
            </a:tbl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A114DF45-33BC-4527-9B33-A70F6B6B4E61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pore construction strategies</a:t>
            </a: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904C3918-2A55-4AA7-845D-47A69005D50A}"/>
              </a:ext>
            </a:extLst>
          </p:cNvPr>
          <p:cNvSpPr txBox="1">
            <a:spLocks/>
          </p:cNvSpPr>
          <p:nvPr/>
        </p:nvSpPr>
        <p:spPr>
          <a:xfrm>
            <a:off x="4296307" y="611437"/>
            <a:ext cx="4209834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endParaRPr lang="en-US" dirty="0">
              <a:solidFill>
                <a:schemeClr val="accent5"/>
              </a:solidFill>
            </a:endParaRPr>
          </a:p>
        </p:txBody>
      </p: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484DA909-76F8-4210-AAE9-33EE5643CC19}"/>
              </a:ext>
            </a:extLst>
          </p:cNvPr>
          <p:cNvGraphicFramePr>
            <a:graphicFrameLocks noGrp="1"/>
          </p:cNvGraphicFramePr>
          <p:nvPr/>
        </p:nvGraphicFramePr>
        <p:xfrm>
          <a:off x="66675" y="807498"/>
          <a:ext cx="7467600" cy="1630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3975">
                  <a:extLst>
                    <a:ext uri="{9D8B030D-6E8A-4147-A177-3AD203B41FA5}">
                      <a16:colId xmlns:a16="http://schemas.microsoft.com/office/drawing/2014/main" val="150730441"/>
                    </a:ext>
                  </a:extLst>
                </a:gridCol>
                <a:gridCol w="1165225">
                  <a:extLst>
                    <a:ext uri="{9D8B030D-6E8A-4147-A177-3AD203B41FA5}">
                      <a16:colId xmlns:a16="http://schemas.microsoft.com/office/drawing/2014/main" val="2658513303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2007085311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3213757413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577747353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9701700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teri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re dimens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re size tun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ynthetic feasi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ynthetic tun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actant accessibil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18874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zeoli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76501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97692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lecul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08910472"/>
                  </a:ext>
                </a:extLst>
              </a:tr>
            </a:tbl>
          </a:graphicData>
        </a:graphic>
      </p:graphicFrame>
      <p:pic>
        <p:nvPicPr>
          <p:cNvPr id="36" name="Graphic 35" descr="Checkmark">
            <a:extLst>
              <a:ext uri="{FF2B5EF4-FFF2-40B4-BE49-F238E27FC236}">
                <a16:creationId xmlns:a16="http://schemas.microsoft.com/office/drawing/2014/main" id="{DD22EF17-004A-4C68-942B-8C3777FC8B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14069" y="1229603"/>
            <a:ext cx="548640" cy="548640"/>
          </a:xfrm>
          <a:prstGeom prst="rect">
            <a:avLst/>
          </a:prstGeom>
        </p:spPr>
      </p:pic>
      <p:pic>
        <p:nvPicPr>
          <p:cNvPr id="37" name="Graphic 36" descr="Close">
            <a:extLst>
              <a:ext uri="{FF2B5EF4-FFF2-40B4-BE49-F238E27FC236}">
                <a16:creationId xmlns:a16="http://schemas.microsoft.com/office/drawing/2014/main" id="{9B560A4D-8972-4B29-B67C-184491C2D7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61318" y="1259580"/>
            <a:ext cx="548640" cy="548640"/>
          </a:xfrm>
          <a:prstGeom prst="rect">
            <a:avLst/>
          </a:prstGeom>
        </p:spPr>
      </p:pic>
      <p:pic>
        <p:nvPicPr>
          <p:cNvPr id="38" name="Graphic 37" descr="Checkmark">
            <a:extLst>
              <a:ext uri="{FF2B5EF4-FFF2-40B4-BE49-F238E27FC236}">
                <a16:creationId xmlns:a16="http://schemas.microsoft.com/office/drawing/2014/main" id="{97138C82-727D-4562-8FAE-0442A5C11A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84515" y="1218413"/>
            <a:ext cx="548640" cy="548640"/>
          </a:xfrm>
          <a:prstGeom prst="rect">
            <a:avLst/>
          </a:prstGeom>
        </p:spPr>
      </p:pic>
      <p:pic>
        <p:nvPicPr>
          <p:cNvPr id="39" name="Graphic 38" descr="Close">
            <a:extLst>
              <a:ext uri="{FF2B5EF4-FFF2-40B4-BE49-F238E27FC236}">
                <a16:creationId xmlns:a16="http://schemas.microsoft.com/office/drawing/2014/main" id="{B7EF1C7D-38D1-4038-93FD-B6047E19D2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07712" y="1250055"/>
            <a:ext cx="548640" cy="548640"/>
          </a:xfrm>
          <a:prstGeom prst="rect">
            <a:avLst/>
          </a:prstGeom>
        </p:spPr>
      </p:pic>
      <p:pic>
        <p:nvPicPr>
          <p:cNvPr id="40" name="Graphic 39" descr="Checkmark">
            <a:extLst>
              <a:ext uri="{FF2B5EF4-FFF2-40B4-BE49-F238E27FC236}">
                <a16:creationId xmlns:a16="http://schemas.microsoft.com/office/drawing/2014/main" id="{48A29E61-FA18-46E1-B27F-047788C923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3537" y="1617333"/>
            <a:ext cx="548640" cy="548640"/>
          </a:xfrm>
          <a:prstGeom prst="rect">
            <a:avLst/>
          </a:prstGeom>
        </p:spPr>
      </p:pic>
      <p:pic>
        <p:nvPicPr>
          <p:cNvPr id="41" name="Graphic 40" descr="Close">
            <a:extLst>
              <a:ext uri="{FF2B5EF4-FFF2-40B4-BE49-F238E27FC236}">
                <a16:creationId xmlns:a16="http://schemas.microsoft.com/office/drawing/2014/main" id="{CE97A812-F84D-4AF4-BF83-F21D7D65EA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84515" y="1606143"/>
            <a:ext cx="548640" cy="548640"/>
          </a:xfrm>
          <a:prstGeom prst="rect">
            <a:avLst/>
          </a:prstGeom>
        </p:spPr>
      </p:pic>
      <p:pic>
        <p:nvPicPr>
          <p:cNvPr id="42" name="Graphic 41" descr="Checkmark">
            <a:extLst>
              <a:ext uri="{FF2B5EF4-FFF2-40B4-BE49-F238E27FC236}">
                <a16:creationId xmlns:a16="http://schemas.microsoft.com/office/drawing/2014/main" id="{96AE43E1-C38A-4A7E-88C5-926E66323B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61318" y="1628260"/>
            <a:ext cx="548640" cy="548640"/>
          </a:xfrm>
          <a:prstGeom prst="rect">
            <a:avLst/>
          </a:prstGeom>
        </p:spPr>
      </p:pic>
      <p:pic>
        <p:nvPicPr>
          <p:cNvPr id="43" name="Graphic 42" descr="Close">
            <a:extLst>
              <a:ext uri="{FF2B5EF4-FFF2-40B4-BE49-F238E27FC236}">
                <a16:creationId xmlns:a16="http://schemas.microsoft.com/office/drawing/2014/main" id="{5599010E-2FA0-4D0A-A3A2-2A08B9E6AB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07712" y="1628260"/>
            <a:ext cx="548640" cy="548640"/>
          </a:xfrm>
          <a:prstGeom prst="rect">
            <a:avLst/>
          </a:prstGeom>
        </p:spPr>
      </p:pic>
      <p:pic>
        <p:nvPicPr>
          <p:cNvPr id="44" name="Graphic 43" descr="Close">
            <a:extLst>
              <a:ext uri="{FF2B5EF4-FFF2-40B4-BE49-F238E27FC236}">
                <a16:creationId xmlns:a16="http://schemas.microsoft.com/office/drawing/2014/main" id="{A7604269-D3E7-46D6-95D9-30C73ABD84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12512" y="1985101"/>
            <a:ext cx="548640" cy="548640"/>
          </a:xfrm>
          <a:prstGeom prst="rect">
            <a:avLst/>
          </a:prstGeom>
        </p:spPr>
      </p:pic>
      <p:pic>
        <p:nvPicPr>
          <p:cNvPr id="45" name="Graphic 44" descr="Checkmark">
            <a:extLst>
              <a:ext uri="{FF2B5EF4-FFF2-40B4-BE49-F238E27FC236}">
                <a16:creationId xmlns:a16="http://schemas.microsoft.com/office/drawing/2014/main" id="{3C239CFF-8518-4DF6-8E40-2D1DA2EEA4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61318" y="1986503"/>
            <a:ext cx="548640" cy="548640"/>
          </a:xfrm>
          <a:prstGeom prst="rect">
            <a:avLst/>
          </a:prstGeom>
        </p:spPr>
      </p:pic>
      <p:pic>
        <p:nvPicPr>
          <p:cNvPr id="46" name="Graphic 45" descr="Close">
            <a:extLst>
              <a:ext uri="{FF2B5EF4-FFF2-40B4-BE49-F238E27FC236}">
                <a16:creationId xmlns:a16="http://schemas.microsoft.com/office/drawing/2014/main" id="{E558D6DC-44D8-4593-8650-9FFA9C7FC4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84515" y="1992961"/>
            <a:ext cx="548640" cy="548640"/>
          </a:xfrm>
          <a:prstGeom prst="rect">
            <a:avLst/>
          </a:prstGeom>
        </p:spPr>
      </p:pic>
      <p:pic>
        <p:nvPicPr>
          <p:cNvPr id="47" name="Graphic 46" descr="Checkmark">
            <a:extLst>
              <a:ext uri="{FF2B5EF4-FFF2-40B4-BE49-F238E27FC236}">
                <a16:creationId xmlns:a16="http://schemas.microsoft.com/office/drawing/2014/main" id="{BE2A41C4-B32E-4467-A79C-F46143D347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07712" y="1978597"/>
            <a:ext cx="548640" cy="548640"/>
          </a:xfrm>
          <a:prstGeom prst="rect">
            <a:avLst/>
          </a:prstGeom>
        </p:spPr>
      </p:pic>
      <p:pic>
        <p:nvPicPr>
          <p:cNvPr id="48" name="Graphic 47" descr="Close">
            <a:extLst>
              <a:ext uri="{FF2B5EF4-FFF2-40B4-BE49-F238E27FC236}">
                <a16:creationId xmlns:a16="http://schemas.microsoft.com/office/drawing/2014/main" id="{BABA4167-B72D-4A54-B799-CEFCE4FADE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30909" y="1250055"/>
            <a:ext cx="548640" cy="548640"/>
          </a:xfrm>
          <a:prstGeom prst="rect">
            <a:avLst/>
          </a:prstGeom>
        </p:spPr>
      </p:pic>
      <p:pic>
        <p:nvPicPr>
          <p:cNvPr id="49" name="Graphic 48" descr="Close">
            <a:extLst>
              <a:ext uri="{FF2B5EF4-FFF2-40B4-BE49-F238E27FC236}">
                <a16:creationId xmlns:a16="http://schemas.microsoft.com/office/drawing/2014/main" id="{F115AA1C-2532-4A39-93DF-FC2AE2AC2D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30909" y="1628260"/>
            <a:ext cx="548640" cy="548640"/>
          </a:xfrm>
          <a:prstGeom prst="rect">
            <a:avLst/>
          </a:prstGeom>
        </p:spPr>
      </p:pic>
      <p:pic>
        <p:nvPicPr>
          <p:cNvPr id="50" name="Graphic 49" descr="Checkmark">
            <a:extLst>
              <a:ext uri="{FF2B5EF4-FFF2-40B4-BE49-F238E27FC236}">
                <a16:creationId xmlns:a16="http://schemas.microsoft.com/office/drawing/2014/main" id="{10760430-F589-4731-9FE6-DB7961D02E0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30909" y="1978597"/>
            <a:ext cx="548640" cy="548640"/>
          </a:xfrm>
          <a:prstGeom prst="rect">
            <a:avLst/>
          </a:prstGeom>
        </p:spPr>
      </p:pic>
      <p:pic>
        <p:nvPicPr>
          <p:cNvPr id="51" name="Graphic 50" descr="Checkmark">
            <a:extLst>
              <a:ext uri="{FF2B5EF4-FFF2-40B4-BE49-F238E27FC236}">
                <a16:creationId xmlns:a16="http://schemas.microsoft.com/office/drawing/2014/main" id="{3B1B4A00-B015-4D94-923C-C22E828B00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35709" y="2385315"/>
            <a:ext cx="548640" cy="548640"/>
          </a:xfrm>
          <a:prstGeom prst="rect">
            <a:avLst/>
          </a:prstGeom>
        </p:spPr>
      </p:pic>
      <p:pic>
        <p:nvPicPr>
          <p:cNvPr id="52" name="Graphic 51" descr="Checkmark">
            <a:extLst>
              <a:ext uri="{FF2B5EF4-FFF2-40B4-BE49-F238E27FC236}">
                <a16:creationId xmlns:a16="http://schemas.microsoft.com/office/drawing/2014/main" id="{DB27118B-6AFD-481A-BE8C-09E75143AB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82103" y="2377409"/>
            <a:ext cx="548640" cy="548640"/>
          </a:xfrm>
          <a:prstGeom prst="rect">
            <a:avLst/>
          </a:prstGeom>
        </p:spPr>
      </p:pic>
      <p:pic>
        <p:nvPicPr>
          <p:cNvPr id="53" name="Graphic 52" descr="Checkmark">
            <a:extLst>
              <a:ext uri="{FF2B5EF4-FFF2-40B4-BE49-F238E27FC236}">
                <a16:creationId xmlns:a16="http://schemas.microsoft.com/office/drawing/2014/main" id="{D48C8C4F-D5F8-425F-AC7C-73A9883BCE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05300" y="2377409"/>
            <a:ext cx="548640" cy="548640"/>
          </a:xfrm>
          <a:prstGeom prst="rect">
            <a:avLst/>
          </a:prstGeom>
        </p:spPr>
      </p:pic>
      <p:pic>
        <p:nvPicPr>
          <p:cNvPr id="54" name="Graphic 53" descr="Checkmark">
            <a:extLst>
              <a:ext uri="{FF2B5EF4-FFF2-40B4-BE49-F238E27FC236}">
                <a16:creationId xmlns:a16="http://schemas.microsoft.com/office/drawing/2014/main" id="{CB682542-F424-494E-BA4A-720B1C337F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29098" y="2384021"/>
            <a:ext cx="548640" cy="548640"/>
          </a:xfrm>
          <a:prstGeom prst="rect">
            <a:avLst/>
          </a:prstGeom>
        </p:spPr>
      </p:pic>
      <p:pic>
        <p:nvPicPr>
          <p:cNvPr id="55" name="Graphic 54" descr="Checkmark">
            <a:extLst>
              <a:ext uri="{FF2B5EF4-FFF2-40B4-BE49-F238E27FC236}">
                <a16:creationId xmlns:a16="http://schemas.microsoft.com/office/drawing/2014/main" id="{F28B98A2-A833-41F5-BB49-811D05B4CA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99544" y="2372831"/>
            <a:ext cx="548640" cy="548640"/>
          </a:xfrm>
          <a:prstGeom prst="rect">
            <a:avLst/>
          </a:prstGeom>
        </p:spPr>
      </p:pic>
      <p:graphicFrame>
        <p:nvGraphicFramePr>
          <p:cNvPr id="58" name="Object 57">
            <a:extLst>
              <a:ext uri="{FF2B5EF4-FFF2-40B4-BE49-F238E27FC236}">
                <a16:creationId xmlns:a16="http://schemas.microsoft.com/office/drawing/2014/main" id="{E3C6B7A5-0182-4459-AE52-519D55DA773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06713" y="2914945"/>
          <a:ext cx="5657850" cy="1714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CS ChemDraw Drawing" r:id="rId10" imgW="6058678" imgH="1821111" progId="ChemDraw.Document.6.0">
                  <p:embed/>
                </p:oleObj>
              </mc:Choice>
              <mc:Fallback>
                <p:oleObj name="CS ChemDraw Drawing" r:id="rId10" imgW="6058678" imgH="1821111" progId="ChemDraw.Document.6.0">
                  <p:embed/>
                  <p:pic>
                    <p:nvPicPr>
                      <p:cNvPr id="58" name="Object 57">
                        <a:extLst>
                          <a:ext uri="{FF2B5EF4-FFF2-40B4-BE49-F238E27FC236}">
                            <a16:creationId xmlns:a16="http://schemas.microsoft.com/office/drawing/2014/main" id="{E3C6B7A5-0182-4459-AE52-519D55DA773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6713" y="2914945"/>
                        <a:ext cx="5657850" cy="1714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5173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heme/theme1.xml><?xml version="1.0" encoding="utf-8"?>
<a:theme xmlns:a="http://schemas.openxmlformats.org/drawingml/2006/main" name="AramcoTheme">
  <a:themeElements>
    <a:clrScheme name="Saudi Aramco">
      <a:dk1>
        <a:srgbClr val="53565A"/>
      </a:dk1>
      <a:lt1>
        <a:sysClr val="window" lastClr="FFFFFF"/>
      </a:lt1>
      <a:dk2>
        <a:srgbClr val="00A3E0"/>
      </a:dk2>
      <a:lt2>
        <a:srgbClr val="84BD00"/>
      </a:lt2>
      <a:accent1>
        <a:srgbClr val="84BD00"/>
      </a:accent1>
      <a:accent2>
        <a:srgbClr val="00843D"/>
      </a:accent2>
      <a:accent3>
        <a:srgbClr val="0033A0"/>
      </a:accent3>
      <a:accent4>
        <a:srgbClr val="00A3E0"/>
      </a:accent4>
      <a:accent5>
        <a:srgbClr val="53565A"/>
      </a:accent5>
      <a:accent6>
        <a:srgbClr val="8F9194"/>
      </a:accent6>
      <a:hlink>
        <a:srgbClr val="00A3E0"/>
      </a:hlink>
      <a:folHlink>
        <a:srgbClr val="0033A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ramcoTheme" id="{F53D0FEC-9B85-45AB-B44E-F1C9A754AAF6}" vid="{A719358D-0A1D-418E-B087-23ACD7F6F04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5018</TotalTime>
  <Words>1632</Words>
  <Application>Microsoft Office PowerPoint</Application>
  <PresentationFormat>On-screen Show (16:9)</PresentationFormat>
  <Paragraphs>380</Paragraphs>
  <Slides>30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42" baseType="lpstr">
      <vt:lpstr>-apple-system</vt:lpstr>
      <vt:lpstr>Arial</vt:lpstr>
      <vt:lpstr>Calibri</vt:lpstr>
      <vt:lpstr>Calibri Light</vt:lpstr>
      <vt:lpstr>Cambria Math</vt:lpstr>
      <vt:lpstr>Lucida Grande</vt:lpstr>
      <vt:lpstr>MathJax_Main</vt:lpstr>
      <vt:lpstr>MathJax_Math-italic</vt:lpstr>
      <vt:lpstr>Trebuchet MS</vt:lpstr>
      <vt:lpstr>AramcoTheme</vt:lpstr>
      <vt:lpstr>CS ChemDraw Drawing</vt:lpstr>
      <vt:lpstr>think-cell Slide</vt:lpstr>
      <vt:lpstr>ethylene oligomerization: molecular strategies to avoid polyethylene fouling </vt:lpstr>
      <vt:lpstr>boston downstream research center</vt:lpstr>
      <vt:lpstr>boston downstream research cent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Greatly Reduced PE via Surface Confined Catalysts</vt:lpstr>
      <vt:lpstr>Ethylene Tetramerization Challenges</vt:lpstr>
      <vt:lpstr>ligand degradation may result in polyethylene</vt:lpstr>
      <vt:lpstr>hypotheses</vt:lpstr>
      <vt:lpstr>computational prediction of isomerization thermochemistry (ΔGPPN)</vt:lpstr>
      <vt:lpstr>XTBDFT</vt:lpstr>
      <vt:lpstr>ΔGPPN vs known PNP/PPN ligands</vt:lpstr>
      <vt:lpstr>       Ligand Stability Correlates with Lower PE wt%</vt:lpstr>
      <vt:lpstr>design criteria to maximize PNP stability (and lower PE fouling)</vt:lpstr>
      <vt:lpstr>optimized PNP ligands compared with benchmark catalyst</vt:lpstr>
      <vt:lpstr>selective ethylene tetramerization summary</vt:lpstr>
      <vt:lpstr>acknowledgements</vt:lpstr>
      <vt:lpstr>supplementary slides…</vt:lpstr>
      <vt:lpstr>need for selective ethylene tetramerization</vt:lpstr>
      <vt:lpstr>Inverse logarithmic relation</vt:lpstr>
      <vt:lpstr>GFN-xTB/CREST vs molecular mechanics (MM)</vt:lpstr>
      <vt:lpstr>1-octene results from metallocycle mechanism </vt:lpstr>
      <vt:lpstr>McGuinness’s 2016 DFT mechanism study </vt:lpstr>
      <vt:lpstr>Computational: Automated Conformational Analysis (XTBDFT)</vt:lpstr>
      <vt:lpstr>Computational: First Detailed Reaction Mechanism of Full Sasol Ligand</vt:lpstr>
      <vt:lpstr>Computational: Machine Learning Mode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tter ethylene tetramerization catalysts from automated modelling of conformationally complex ligands</dc:title>
  <dc:creator>Lin, Sibo</dc:creator>
  <cp:lastModifiedBy>Lin, Sibo</cp:lastModifiedBy>
  <cp:revision>135</cp:revision>
  <dcterms:created xsi:type="dcterms:W3CDTF">2020-11-05T14:15:33Z</dcterms:created>
  <dcterms:modified xsi:type="dcterms:W3CDTF">2021-12-19T17:0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0959062-7b44-4d77-8d0f-cf572960120c_Enabled">
    <vt:lpwstr>true</vt:lpwstr>
  </property>
  <property fmtid="{D5CDD505-2E9C-101B-9397-08002B2CF9AE}" pid="3" name="MSIP_Label_10959062-7b44-4d77-8d0f-cf572960120c_SetDate">
    <vt:lpwstr>2020-11-05T17:35:48Z</vt:lpwstr>
  </property>
  <property fmtid="{D5CDD505-2E9C-101B-9397-08002B2CF9AE}" pid="4" name="MSIP_Label_10959062-7b44-4d77-8d0f-cf572960120c_Method">
    <vt:lpwstr>Privileged</vt:lpwstr>
  </property>
  <property fmtid="{D5CDD505-2E9C-101B-9397-08002B2CF9AE}" pid="5" name="MSIP_Label_10959062-7b44-4d77-8d0f-cf572960120c_Name">
    <vt:lpwstr>ASC-General-Use</vt:lpwstr>
  </property>
  <property fmtid="{D5CDD505-2E9C-101B-9397-08002B2CF9AE}" pid="6" name="MSIP_Label_10959062-7b44-4d77-8d0f-cf572960120c_SiteId">
    <vt:lpwstr>3793a1e6-1687-4a33-a150-6d1a5640ff06</vt:lpwstr>
  </property>
  <property fmtid="{D5CDD505-2E9C-101B-9397-08002B2CF9AE}" pid="7" name="MSIP_Label_10959062-7b44-4d77-8d0f-cf572960120c_ActionId">
    <vt:lpwstr>ef0581af-3539-4fd8-a3ab-0000cb41ef96</vt:lpwstr>
  </property>
  <property fmtid="{D5CDD505-2E9C-101B-9397-08002B2CF9AE}" pid="8" name="MSIP_Label_10959062-7b44-4d77-8d0f-cf572960120c_ContentBits">
    <vt:lpwstr>2</vt:lpwstr>
  </property>
</Properties>
</file>